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4"/>
    <p:sldMasterId id="2147483700" r:id="rId5"/>
    <p:sldMasterId id="2147483712" r:id="rId6"/>
    <p:sldMasterId id="2147483724" r:id="rId7"/>
  </p:sldMasterIdLst>
  <p:notesMasterIdLst>
    <p:notesMasterId r:id="rId13"/>
  </p:notesMasterIdLst>
  <p:handoutMasterIdLst>
    <p:handoutMasterId r:id="rId14"/>
  </p:handoutMasterIdLst>
  <p:sldIdLst>
    <p:sldId id="963" r:id="rId8"/>
    <p:sldId id="962" r:id="rId9"/>
    <p:sldId id="964" r:id="rId10"/>
    <p:sldId id="966" r:id="rId11"/>
    <p:sldId id="975" r:id="rId12"/>
  </p:sldIdLst>
  <p:sldSz cx="9144000" cy="5143500" type="screen16x9"/>
  <p:notesSz cx="6769100" cy="9906000"/>
  <p:custDataLst>
    <p:tags r:id="rId1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ir Paulo Satig" initials="JPS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4B27"/>
    <a:srgbClr val="149B56"/>
    <a:srgbClr val="009900"/>
    <a:srgbClr val="EEAD0E"/>
    <a:srgbClr val="B3B3B3"/>
    <a:srgbClr val="A4830C"/>
    <a:srgbClr val="DFFDED"/>
    <a:srgbClr val="EF4138"/>
    <a:srgbClr val="B5EDB5"/>
    <a:srgbClr val="C9FB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5D0C93-A98E-4613-A9C3-15F6944C3BFC}" v="25" dt="2020-06-02T02:05:50.693"/>
    <p1510:client id="{FF62F382-D3A6-458F-9DC5-255DF029F743}" v="1" dt="2020-06-02T18:31:00.3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Estilo Claro 3 - Ênfas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63" autoAdjust="0"/>
    <p:restoredTop sz="87192" autoAdjust="0"/>
  </p:normalViewPr>
  <p:slideViewPr>
    <p:cSldViewPr>
      <p:cViewPr varScale="1">
        <p:scale>
          <a:sx n="131" d="100"/>
          <a:sy n="131" d="100"/>
        </p:scale>
        <p:origin x="1176" y="9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200" d="100"/>
        <a:sy n="200" d="100"/>
      </p:scale>
      <p:origin x="0" y="-40200"/>
    </p:cViewPr>
  </p:sorterViewPr>
  <p:notesViewPr>
    <p:cSldViewPr>
      <p:cViewPr varScale="1">
        <p:scale>
          <a:sx n="80" d="100"/>
          <a:sy n="80" d="100"/>
        </p:scale>
        <p:origin x="402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nise Rosa Meneghel" userId="8fc516a6-ef1e-4431-90a6-c5c2da25cc8c" providerId="ADAL" clId="{8DFCDFD2-E8FC-4F14-AB26-849A0C9B5781}"/>
    <pc:docChg chg="undo custSel delSld modSld modMainMaster">
      <pc:chgData name="Denise Rosa Meneghel" userId="8fc516a6-ef1e-4431-90a6-c5c2da25cc8c" providerId="ADAL" clId="{8DFCDFD2-E8FC-4F14-AB26-849A0C9B5781}" dt="2020-06-02T02:05:50.693" v="315" actId="20577"/>
      <pc:docMkLst>
        <pc:docMk/>
      </pc:docMkLst>
      <pc:sldChg chg="delSp modSp">
        <pc:chgData name="Denise Rosa Meneghel" userId="8fc516a6-ef1e-4431-90a6-c5c2da25cc8c" providerId="ADAL" clId="{8DFCDFD2-E8FC-4F14-AB26-849A0C9B5781}" dt="2020-06-02T00:07:20.555" v="34" actId="20577"/>
        <pc:sldMkLst>
          <pc:docMk/>
          <pc:sldMk cId="0" sldId="256"/>
        </pc:sldMkLst>
        <pc:spChg chg="mod">
          <ac:chgData name="Denise Rosa Meneghel" userId="8fc516a6-ef1e-4431-90a6-c5c2da25cc8c" providerId="ADAL" clId="{8DFCDFD2-E8FC-4F14-AB26-849A0C9B5781}" dt="2020-06-02T00:07:20.555" v="34" actId="20577"/>
          <ac:spMkLst>
            <pc:docMk/>
            <pc:sldMk cId="0" sldId="256"/>
            <ac:spMk id="23" creationId="{44045FE3-2BB3-4A11-AD63-ECFB9EAC1169}"/>
          </ac:spMkLst>
        </pc:spChg>
        <pc:spChg chg="mod">
          <ac:chgData name="Denise Rosa Meneghel" userId="8fc516a6-ef1e-4431-90a6-c5c2da25cc8c" providerId="ADAL" clId="{8DFCDFD2-E8FC-4F14-AB26-849A0C9B5781}" dt="2020-06-02T00:07:17.290" v="32" actId="20577"/>
          <ac:spMkLst>
            <pc:docMk/>
            <pc:sldMk cId="0" sldId="256"/>
            <ac:spMk id="34" creationId="{928A9EA7-E562-4A3D-A240-77974B6A7B3D}"/>
          </ac:spMkLst>
        </pc:spChg>
        <pc:grpChg chg="mod">
          <ac:chgData name="Denise Rosa Meneghel" userId="8fc516a6-ef1e-4431-90a6-c5c2da25cc8c" providerId="ADAL" clId="{8DFCDFD2-E8FC-4F14-AB26-849A0C9B5781}" dt="2020-06-02T00:07:14.372" v="30" actId="465"/>
          <ac:grpSpMkLst>
            <pc:docMk/>
            <pc:sldMk cId="0" sldId="256"/>
            <ac:grpSpMk id="2" creationId="{B4D4D4A5-C332-4A98-B7B4-433EE1744E4B}"/>
          </ac:grpSpMkLst>
        </pc:grpChg>
        <pc:grpChg chg="mod">
          <ac:chgData name="Denise Rosa Meneghel" userId="8fc516a6-ef1e-4431-90a6-c5c2da25cc8c" providerId="ADAL" clId="{8DFCDFD2-E8FC-4F14-AB26-849A0C9B5781}" dt="2020-06-02T00:07:14.372" v="30" actId="465"/>
          <ac:grpSpMkLst>
            <pc:docMk/>
            <pc:sldMk cId="0" sldId="256"/>
            <ac:grpSpMk id="3" creationId="{E66D206C-E533-432B-9F57-1031C4A70798}"/>
          </ac:grpSpMkLst>
        </pc:grpChg>
        <pc:grpChg chg="del">
          <ac:chgData name="Denise Rosa Meneghel" userId="8fc516a6-ef1e-4431-90a6-c5c2da25cc8c" providerId="ADAL" clId="{8DFCDFD2-E8FC-4F14-AB26-849A0C9B5781}" dt="2020-06-02T00:07:07.734" v="28" actId="478"/>
          <ac:grpSpMkLst>
            <pc:docMk/>
            <pc:sldMk cId="0" sldId="256"/>
            <ac:grpSpMk id="5" creationId="{E98AD1D3-1E7A-4454-9544-F2FEE6679658}"/>
          </ac:grpSpMkLst>
        </pc:grpChg>
        <pc:grpChg chg="mod">
          <ac:chgData name="Denise Rosa Meneghel" userId="8fc516a6-ef1e-4431-90a6-c5c2da25cc8c" providerId="ADAL" clId="{8DFCDFD2-E8FC-4F14-AB26-849A0C9B5781}" dt="2020-06-02T00:07:14.372" v="30" actId="465"/>
          <ac:grpSpMkLst>
            <pc:docMk/>
            <pc:sldMk cId="0" sldId="256"/>
            <ac:grpSpMk id="6" creationId="{0D34F9FA-A5BF-4116-8A2F-7A1D7BB30484}"/>
          </ac:grpSpMkLst>
        </pc:grpChg>
        <pc:grpChg chg="mod">
          <ac:chgData name="Denise Rosa Meneghel" userId="8fc516a6-ef1e-4431-90a6-c5c2da25cc8c" providerId="ADAL" clId="{8DFCDFD2-E8FC-4F14-AB26-849A0C9B5781}" dt="2020-06-02T00:07:14.372" v="30" actId="465"/>
          <ac:grpSpMkLst>
            <pc:docMk/>
            <pc:sldMk cId="0" sldId="256"/>
            <ac:grpSpMk id="7" creationId="{4F6664C8-A508-4C1F-A636-4EE904BB676C}"/>
          </ac:grpSpMkLst>
        </pc:grpChg>
      </pc:sldChg>
      <pc:sldChg chg="addSp delSp modSp modNotesTx">
        <pc:chgData name="Denise Rosa Meneghel" userId="8fc516a6-ef1e-4431-90a6-c5c2da25cc8c" providerId="ADAL" clId="{8DFCDFD2-E8FC-4F14-AB26-849A0C9B5781}" dt="2020-06-02T00:27:50.793" v="255" actId="6549"/>
        <pc:sldMkLst>
          <pc:docMk/>
          <pc:sldMk cId="3670932865" sldId="940"/>
        </pc:sldMkLst>
        <pc:spChg chg="add del mod">
          <ac:chgData name="Denise Rosa Meneghel" userId="8fc516a6-ef1e-4431-90a6-c5c2da25cc8c" providerId="ADAL" clId="{8DFCDFD2-E8FC-4F14-AB26-849A0C9B5781}" dt="2020-06-02T00:26:45.777" v="104" actId="478"/>
          <ac:spMkLst>
            <pc:docMk/>
            <pc:sldMk cId="3670932865" sldId="940"/>
            <ac:spMk id="9" creationId="{16723A3B-3322-4873-B071-451008007F65}"/>
          </ac:spMkLst>
        </pc:spChg>
      </pc:sldChg>
      <pc:sldChg chg="addSp delSp modSp modAnim">
        <pc:chgData name="Denise Rosa Meneghel" userId="8fc516a6-ef1e-4431-90a6-c5c2da25cc8c" providerId="ADAL" clId="{8DFCDFD2-E8FC-4F14-AB26-849A0C9B5781}" dt="2020-06-02T00:11:04.181" v="58"/>
        <pc:sldMkLst>
          <pc:docMk/>
          <pc:sldMk cId="2627014328" sldId="942"/>
        </pc:sldMkLst>
        <pc:spChg chg="add del">
          <ac:chgData name="Denise Rosa Meneghel" userId="8fc516a6-ef1e-4431-90a6-c5c2da25cc8c" providerId="ADAL" clId="{8DFCDFD2-E8FC-4F14-AB26-849A0C9B5781}" dt="2020-06-02T00:10:21.921" v="52" actId="478"/>
          <ac:spMkLst>
            <pc:docMk/>
            <pc:sldMk cId="2627014328" sldId="942"/>
            <ac:spMk id="5" creationId="{0D94BD7B-9B9B-4DF5-A1D7-EBEB09A279E0}"/>
          </ac:spMkLst>
        </pc:spChg>
        <pc:spChg chg="add del">
          <ac:chgData name="Denise Rosa Meneghel" userId="8fc516a6-ef1e-4431-90a6-c5c2da25cc8c" providerId="ADAL" clId="{8DFCDFD2-E8FC-4F14-AB26-849A0C9B5781}" dt="2020-06-02T00:10:26.947" v="54" actId="478"/>
          <ac:spMkLst>
            <pc:docMk/>
            <pc:sldMk cId="2627014328" sldId="942"/>
            <ac:spMk id="6" creationId="{D5D62991-9449-4CE5-BCC9-FD62C4A44554}"/>
          </ac:spMkLst>
        </pc:spChg>
        <pc:picChg chg="add mod">
          <ac:chgData name="Denise Rosa Meneghel" userId="8fc516a6-ef1e-4431-90a6-c5c2da25cc8c" providerId="ADAL" clId="{8DFCDFD2-E8FC-4F14-AB26-849A0C9B5781}" dt="2020-06-02T00:11:01.988" v="57" actId="1076"/>
          <ac:picMkLst>
            <pc:docMk/>
            <pc:sldMk cId="2627014328" sldId="942"/>
            <ac:picMk id="34822" creationId="{1994DB64-0F2F-4BBC-9D41-380E204DD2CC}"/>
          </ac:picMkLst>
        </pc:picChg>
      </pc:sldChg>
      <pc:sldChg chg="delSp modSp">
        <pc:chgData name="Denise Rosa Meneghel" userId="8fc516a6-ef1e-4431-90a6-c5c2da25cc8c" providerId="ADAL" clId="{8DFCDFD2-E8FC-4F14-AB26-849A0C9B5781}" dt="2020-06-02T01:15:14.184" v="258" actId="20577"/>
        <pc:sldMkLst>
          <pc:docMk/>
          <pc:sldMk cId="533698083" sldId="951"/>
        </pc:sldMkLst>
        <pc:spChg chg="mod">
          <ac:chgData name="Denise Rosa Meneghel" userId="8fc516a6-ef1e-4431-90a6-c5c2da25cc8c" providerId="ADAL" clId="{8DFCDFD2-E8FC-4F14-AB26-849A0C9B5781}" dt="2020-06-02T01:15:14.184" v="258" actId="20577"/>
          <ac:spMkLst>
            <pc:docMk/>
            <pc:sldMk cId="533698083" sldId="951"/>
            <ac:spMk id="5" creationId="{EAA6ACC8-6961-4C53-9F9F-9D36D31C7C7D}"/>
          </ac:spMkLst>
        </pc:spChg>
        <pc:spChg chg="del mod">
          <ac:chgData name="Denise Rosa Meneghel" userId="8fc516a6-ef1e-4431-90a6-c5c2da25cc8c" providerId="ADAL" clId="{8DFCDFD2-E8FC-4F14-AB26-849A0C9B5781}" dt="2020-06-02T00:33:15.284" v="256" actId="478"/>
          <ac:spMkLst>
            <pc:docMk/>
            <pc:sldMk cId="533698083" sldId="951"/>
            <ac:spMk id="11" creationId="{AD1D841E-CC5C-423E-99E7-8B10C93C6DA8}"/>
          </ac:spMkLst>
        </pc:spChg>
      </pc:sldChg>
      <pc:sldChg chg="del">
        <pc:chgData name="Denise Rosa Meneghel" userId="8fc516a6-ef1e-4431-90a6-c5c2da25cc8c" providerId="ADAL" clId="{8DFCDFD2-E8FC-4F14-AB26-849A0C9B5781}" dt="2020-06-02T00:05:23.390" v="0" actId="47"/>
        <pc:sldMkLst>
          <pc:docMk/>
          <pc:sldMk cId="3756990371" sldId="954"/>
        </pc:sldMkLst>
      </pc:sldChg>
      <pc:sldChg chg="del">
        <pc:chgData name="Denise Rosa Meneghel" userId="8fc516a6-ef1e-4431-90a6-c5c2da25cc8c" providerId="ADAL" clId="{8DFCDFD2-E8FC-4F14-AB26-849A0C9B5781}" dt="2020-06-02T00:05:23.968" v="1" actId="47"/>
        <pc:sldMkLst>
          <pc:docMk/>
          <pc:sldMk cId="2949861278" sldId="956"/>
        </pc:sldMkLst>
      </pc:sldChg>
      <pc:sldChg chg="del">
        <pc:chgData name="Denise Rosa Meneghel" userId="8fc516a6-ef1e-4431-90a6-c5c2da25cc8c" providerId="ADAL" clId="{8DFCDFD2-E8FC-4F14-AB26-849A0C9B5781}" dt="2020-06-02T00:05:24.322" v="2" actId="47"/>
        <pc:sldMkLst>
          <pc:docMk/>
          <pc:sldMk cId="2484226387" sldId="957"/>
        </pc:sldMkLst>
      </pc:sldChg>
      <pc:sldChg chg="del">
        <pc:chgData name="Denise Rosa Meneghel" userId="8fc516a6-ef1e-4431-90a6-c5c2da25cc8c" providerId="ADAL" clId="{8DFCDFD2-E8FC-4F14-AB26-849A0C9B5781}" dt="2020-06-02T00:05:24.811" v="3" actId="47"/>
        <pc:sldMkLst>
          <pc:docMk/>
          <pc:sldMk cId="1549796449" sldId="959"/>
        </pc:sldMkLst>
      </pc:sldChg>
      <pc:sldChg chg="del">
        <pc:chgData name="Denise Rosa Meneghel" userId="8fc516a6-ef1e-4431-90a6-c5c2da25cc8c" providerId="ADAL" clId="{8DFCDFD2-E8FC-4F14-AB26-849A0C9B5781}" dt="2020-06-02T00:05:25.266" v="4" actId="47"/>
        <pc:sldMkLst>
          <pc:docMk/>
          <pc:sldMk cId="115982429" sldId="960"/>
        </pc:sldMkLst>
      </pc:sldChg>
      <pc:sldChg chg="addSp delSp modSp">
        <pc:chgData name="Denise Rosa Meneghel" userId="8fc516a6-ef1e-4431-90a6-c5c2da25cc8c" providerId="ADAL" clId="{8DFCDFD2-E8FC-4F14-AB26-849A0C9B5781}" dt="2020-06-02T00:07:50.114" v="46" actId="478"/>
        <pc:sldMkLst>
          <pc:docMk/>
          <pc:sldMk cId="1663163115" sldId="977"/>
        </pc:sldMkLst>
        <pc:spChg chg="del topLvl">
          <ac:chgData name="Denise Rosa Meneghel" userId="8fc516a6-ef1e-4431-90a6-c5c2da25cc8c" providerId="ADAL" clId="{8DFCDFD2-E8FC-4F14-AB26-849A0C9B5781}" dt="2020-06-02T00:07:32.753" v="36" actId="478"/>
          <ac:spMkLst>
            <pc:docMk/>
            <pc:sldMk cId="1663163115" sldId="977"/>
            <ac:spMk id="51" creationId="{C82DA0C4-DD5D-4276-9B6F-36286C79488B}"/>
          </ac:spMkLst>
        </pc:spChg>
        <pc:spChg chg="del topLvl">
          <ac:chgData name="Denise Rosa Meneghel" userId="8fc516a6-ef1e-4431-90a6-c5c2da25cc8c" providerId="ADAL" clId="{8DFCDFD2-E8FC-4F14-AB26-849A0C9B5781}" dt="2020-06-02T00:07:34.693" v="37" actId="478"/>
          <ac:spMkLst>
            <pc:docMk/>
            <pc:sldMk cId="1663163115" sldId="977"/>
            <ac:spMk id="52" creationId="{6B62441F-9D6F-40F8-8F09-91B783BE03F5}"/>
          </ac:spMkLst>
        </pc:spChg>
        <pc:spChg chg="add del topLvl">
          <ac:chgData name="Denise Rosa Meneghel" userId="8fc516a6-ef1e-4431-90a6-c5c2da25cc8c" providerId="ADAL" clId="{8DFCDFD2-E8FC-4F14-AB26-849A0C9B5781}" dt="2020-06-02T00:07:46.615" v="45" actId="478"/>
          <ac:spMkLst>
            <pc:docMk/>
            <pc:sldMk cId="1663163115" sldId="977"/>
            <ac:spMk id="68" creationId="{03F4E9C8-9405-423C-B013-CEB566AEDD6B}"/>
          </ac:spMkLst>
        </pc:spChg>
        <pc:spChg chg="add del topLvl">
          <ac:chgData name="Denise Rosa Meneghel" userId="8fc516a6-ef1e-4431-90a6-c5c2da25cc8c" providerId="ADAL" clId="{8DFCDFD2-E8FC-4F14-AB26-849A0C9B5781}" dt="2020-06-02T00:07:45.581" v="43" actId="478"/>
          <ac:spMkLst>
            <pc:docMk/>
            <pc:sldMk cId="1663163115" sldId="977"/>
            <ac:spMk id="69" creationId="{24EBB6DF-4AFB-4DCF-BB97-1403F46CF85A}"/>
          </ac:spMkLst>
        </pc:spChg>
        <pc:grpChg chg="add del">
          <ac:chgData name="Denise Rosa Meneghel" userId="8fc516a6-ef1e-4431-90a6-c5c2da25cc8c" providerId="ADAL" clId="{8DFCDFD2-E8FC-4F14-AB26-849A0C9B5781}" dt="2020-06-02T00:07:46.029" v="44" actId="478"/>
          <ac:grpSpMkLst>
            <pc:docMk/>
            <pc:sldMk cId="1663163115" sldId="977"/>
            <ac:grpSpMk id="8" creationId="{F442E3A7-11A4-47CD-9EB4-0A4AA889FB7D}"/>
          </ac:grpSpMkLst>
        </pc:grpChg>
        <pc:grpChg chg="del">
          <ac:chgData name="Denise Rosa Meneghel" userId="8fc516a6-ef1e-4431-90a6-c5c2da25cc8c" providerId="ADAL" clId="{8DFCDFD2-E8FC-4F14-AB26-849A0C9B5781}" dt="2020-06-02T00:07:32.753" v="36" actId="478"/>
          <ac:grpSpMkLst>
            <pc:docMk/>
            <pc:sldMk cId="1663163115" sldId="977"/>
            <ac:grpSpMk id="50" creationId="{E20B76EF-C591-49EE-A65F-2AD896F27069}"/>
          </ac:grpSpMkLst>
        </pc:grpChg>
        <pc:grpChg chg="add del">
          <ac:chgData name="Denise Rosa Meneghel" userId="8fc516a6-ef1e-4431-90a6-c5c2da25cc8c" providerId="ADAL" clId="{8DFCDFD2-E8FC-4F14-AB26-849A0C9B5781}" dt="2020-06-02T00:07:50.114" v="46" actId="478"/>
          <ac:grpSpMkLst>
            <pc:docMk/>
            <pc:sldMk cId="1663163115" sldId="977"/>
            <ac:grpSpMk id="67" creationId="{55D2AA3E-669D-4124-B438-D6AE2EE23D71}"/>
          </ac:grpSpMkLst>
        </pc:grpChg>
        <pc:grpChg chg="add">
          <ac:chgData name="Denise Rosa Meneghel" userId="8fc516a6-ef1e-4431-90a6-c5c2da25cc8c" providerId="ADAL" clId="{8DFCDFD2-E8FC-4F14-AB26-849A0C9B5781}" dt="2020-06-02T00:07:28.393" v="35"/>
          <ac:grpSpMkLst>
            <pc:docMk/>
            <pc:sldMk cId="1663163115" sldId="977"/>
            <ac:grpSpMk id="70" creationId="{27673406-5EC1-4771-99B9-C6D1A7180466}"/>
          </ac:grpSpMkLst>
        </pc:grpChg>
        <pc:grpChg chg="add">
          <ac:chgData name="Denise Rosa Meneghel" userId="8fc516a6-ef1e-4431-90a6-c5c2da25cc8c" providerId="ADAL" clId="{8DFCDFD2-E8FC-4F14-AB26-849A0C9B5781}" dt="2020-06-02T00:07:28.393" v="35"/>
          <ac:grpSpMkLst>
            <pc:docMk/>
            <pc:sldMk cId="1663163115" sldId="977"/>
            <ac:grpSpMk id="73" creationId="{9E9DEB30-3350-4363-9ADB-2D519E741187}"/>
          </ac:grpSpMkLst>
        </pc:grpChg>
        <pc:grpChg chg="add">
          <ac:chgData name="Denise Rosa Meneghel" userId="8fc516a6-ef1e-4431-90a6-c5c2da25cc8c" providerId="ADAL" clId="{8DFCDFD2-E8FC-4F14-AB26-849A0C9B5781}" dt="2020-06-02T00:07:28.393" v="35"/>
          <ac:grpSpMkLst>
            <pc:docMk/>
            <pc:sldMk cId="1663163115" sldId="977"/>
            <ac:grpSpMk id="76" creationId="{9A808616-D6D1-47CB-ABCD-89AE03885FC6}"/>
          </ac:grpSpMkLst>
        </pc:grpChg>
        <pc:grpChg chg="add del mod">
          <ac:chgData name="Denise Rosa Meneghel" userId="8fc516a6-ef1e-4431-90a6-c5c2da25cc8c" providerId="ADAL" clId="{8DFCDFD2-E8FC-4F14-AB26-849A0C9B5781}" dt="2020-06-02T00:07:45.237" v="42"/>
          <ac:grpSpMkLst>
            <pc:docMk/>
            <pc:sldMk cId="1663163115" sldId="977"/>
            <ac:grpSpMk id="79" creationId="{8A86471B-DD1F-487B-8DA3-9EBDD44B0FA0}"/>
          </ac:grpSpMkLst>
        </pc:grpChg>
        <pc:grpChg chg="add del mod">
          <ac:chgData name="Denise Rosa Meneghel" userId="8fc516a6-ef1e-4431-90a6-c5c2da25cc8c" providerId="ADAL" clId="{8DFCDFD2-E8FC-4F14-AB26-849A0C9B5781}" dt="2020-06-02T00:07:45.237" v="42"/>
          <ac:grpSpMkLst>
            <pc:docMk/>
            <pc:sldMk cId="1663163115" sldId="977"/>
            <ac:grpSpMk id="82" creationId="{AA32D1CA-4761-48A8-A73A-FBD4BDDD1831}"/>
          </ac:grpSpMkLst>
        </pc:grpChg>
        <pc:grpChg chg="add del mod">
          <ac:chgData name="Denise Rosa Meneghel" userId="8fc516a6-ef1e-4431-90a6-c5c2da25cc8c" providerId="ADAL" clId="{8DFCDFD2-E8FC-4F14-AB26-849A0C9B5781}" dt="2020-06-02T00:07:45.237" v="42"/>
          <ac:grpSpMkLst>
            <pc:docMk/>
            <pc:sldMk cId="1663163115" sldId="977"/>
            <ac:grpSpMk id="85" creationId="{4B5AF86C-D1A5-448A-A5EB-3285D6648552}"/>
          </ac:grpSpMkLst>
        </pc:grpChg>
        <pc:grpChg chg="add del mod">
          <ac:chgData name="Denise Rosa Meneghel" userId="8fc516a6-ef1e-4431-90a6-c5c2da25cc8c" providerId="ADAL" clId="{8DFCDFD2-E8FC-4F14-AB26-849A0C9B5781}" dt="2020-06-02T00:07:45.237" v="42"/>
          <ac:grpSpMkLst>
            <pc:docMk/>
            <pc:sldMk cId="1663163115" sldId="977"/>
            <ac:grpSpMk id="88" creationId="{419AE2A2-9DAF-492D-9E01-3656856C1341}"/>
          </ac:grpSpMkLst>
        </pc:grpChg>
      </pc:sldChg>
      <pc:sldChg chg="addSp delSp">
        <pc:chgData name="Denise Rosa Meneghel" userId="8fc516a6-ef1e-4431-90a6-c5c2da25cc8c" providerId="ADAL" clId="{8DFCDFD2-E8FC-4F14-AB26-849A0C9B5781}" dt="2020-06-02T00:07:59.413" v="49" actId="478"/>
        <pc:sldMkLst>
          <pc:docMk/>
          <pc:sldMk cId="97415269" sldId="978"/>
        </pc:sldMkLst>
        <pc:grpChg chg="del">
          <ac:chgData name="Denise Rosa Meneghel" userId="8fc516a6-ef1e-4431-90a6-c5c2da25cc8c" providerId="ADAL" clId="{8DFCDFD2-E8FC-4F14-AB26-849A0C9B5781}" dt="2020-06-02T00:07:57.462" v="48" actId="478"/>
          <ac:grpSpMkLst>
            <pc:docMk/>
            <pc:sldMk cId="97415269" sldId="978"/>
            <ac:grpSpMk id="50" creationId="{B432A074-7069-4EA7-B3AE-94D97E7B4B02}"/>
          </ac:grpSpMkLst>
        </pc:grpChg>
        <pc:grpChg chg="add">
          <ac:chgData name="Denise Rosa Meneghel" userId="8fc516a6-ef1e-4431-90a6-c5c2da25cc8c" providerId="ADAL" clId="{8DFCDFD2-E8FC-4F14-AB26-849A0C9B5781}" dt="2020-06-02T00:07:54.973" v="47"/>
          <ac:grpSpMkLst>
            <pc:docMk/>
            <pc:sldMk cId="97415269" sldId="978"/>
            <ac:grpSpMk id="67" creationId="{5252A412-2D3D-482F-9C32-59C1B9CC8DFE}"/>
          </ac:grpSpMkLst>
        </pc:grpChg>
        <pc:grpChg chg="add">
          <ac:chgData name="Denise Rosa Meneghel" userId="8fc516a6-ef1e-4431-90a6-c5c2da25cc8c" providerId="ADAL" clId="{8DFCDFD2-E8FC-4F14-AB26-849A0C9B5781}" dt="2020-06-02T00:07:54.973" v="47"/>
          <ac:grpSpMkLst>
            <pc:docMk/>
            <pc:sldMk cId="97415269" sldId="978"/>
            <ac:grpSpMk id="70" creationId="{D27494E4-5304-48E1-9C17-75A3B83D20CE}"/>
          </ac:grpSpMkLst>
        </pc:grpChg>
        <pc:grpChg chg="add">
          <ac:chgData name="Denise Rosa Meneghel" userId="8fc516a6-ef1e-4431-90a6-c5c2da25cc8c" providerId="ADAL" clId="{8DFCDFD2-E8FC-4F14-AB26-849A0C9B5781}" dt="2020-06-02T00:07:54.973" v="47"/>
          <ac:grpSpMkLst>
            <pc:docMk/>
            <pc:sldMk cId="97415269" sldId="978"/>
            <ac:grpSpMk id="73" creationId="{A76A5C32-C8B2-4B9B-BE8A-6BBF60E96D55}"/>
          </ac:grpSpMkLst>
        </pc:grpChg>
        <pc:grpChg chg="add del">
          <ac:chgData name="Denise Rosa Meneghel" userId="8fc516a6-ef1e-4431-90a6-c5c2da25cc8c" providerId="ADAL" clId="{8DFCDFD2-E8FC-4F14-AB26-849A0C9B5781}" dt="2020-06-02T00:07:59.413" v="49" actId="478"/>
          <ac:grpSpMkLst>
            <pc:docMk/>
            <pc:sldMk cId="97415269" sldId="978"/>
            <ac:grpSpMk id="76" creationId="{A988E84E-8CC6-46CB-A55E-3440B6D1C9A4}"/>
          </ac:grpSpMkLst>
        </pc:grpChg>
      </pc:sldChg>
      <pc:sldChg chg="del">
        <pc:chgData name="Denise Rosa Meneghel" userId="8fc516a6-ef1e-4431-90a6-c5c2da25cc8c" providerId="ADAL" clId="{8DFCDFD2-E8FC-4F14-AB26-849A0C9B5781}" dt="2020-06-02T00:05:42.063" v="5" actId="47"/>
        <pc:sldMkLst>
          <pc:docMk/>
          <pc:sldMk cId="2570886065" sldId="979"/>
        </pc:sldMkLst>
      </pc:sldChg>
      <pc:sldChg chg="delSp modSp">
        <pc:chgData name="Denise Rosa Meneghel" userId="8fc516a6-ef1e-4431-90a6-c5c2da25cc8c" providerId="ADAL" clId="{8DFCDFD2-E8FC-4F14-AB26-849A0C9B5781}" dt="2020-06-02T00:06:02.615" v="10" actId="20577"/>
        <pc:sldMkLst>
          <pc:docMk/>
          <pc:sldMk cId="1424820065" sldId="980"/>
        </pc:sldMkLst>
        <pc:spChg chg="mod">
          <ac:chgData name="Denise Rosa Meneghel" userId="8fc516a6-ef1e-4431-90a6-c5c2da25cc8c" providerId="ADAL" clId="{8DFCDFD2-E8FC-4F14-AB26-849A0C9B5781}" dt="2020-06-02T00:05:55.115" v="7" actId="1076"/>
          <ac:spMkLst>
            <pc:docMk/>
            <pc:sldMk cId="1424820065" sldId="980"/>
            <ac:spMk id="29" creationId="{159976CF-EA89-403B-B913-5023E4A69B8A}"/>
          </ac:spMkLst>
        </pc:spChg>
        <pc:spChg chg="mod">
          <ac:chgData name="Denise Rosa Meneghel" userId="8fc516a6-ef1e-4431-90a6-c5c2da25cc8c" providerId="ADAL" clId="{8DFCDFD2-E8FC-4F14-AB26-849A0C9B5781}" dt="2020-06-02T00:05:59.341" v="9" actId="20577"/>
          <ac:spMkLst>
            <pc:docMk/>
            <pc:sldMk cId="1424820065" sldId="980"/>
            <ac:spMk id="34" creationId="{928A9EA7-E562-4A3D-A240-77974B6A7B3D}"/>
          </ac:spMkLst>
        </pc:spChg>
        <pc:spChg chg="mod">
          <ac:chgData name="Denise Rosa Meneghel" userId="8fc516a6-ef1e-4431-90a6-c5c2da25cc8c" providerId="ADAL" clId="{8DFCDFD2-E8FC-4F14-AB26-849A0C9B5781}" dt="2020-06-02T00:06:02.615" v="10" actId="20577"/>
          <ac:spMkLst>
            <pc:docMk/>
            <pc:sldMk cId="1424820065" sldId="980"/>
            <ac:spMk id="52" creationId="{0559705C-22CC-4572-B081-14C2F8AFE4F1}"/>
          </ac:spMkLst>
        </pc:spChg>
        <pc:grpChg chg="mod">
          <ac:chgData name="Denise Rosa Meneghel" userId="8fc516a6-ef1e-4431-90a6-c5c2da25cc8c" providerId="ADAL" clId="{8DFCDFD2-E8FC-4F14-AB26-849A0C9B5781}" dt="2020-06-02T00:05:55.115" v="7" actId="1076"/>
          <ac:grpSpMkLst>
            <pc:docMk/>
            <pc:sldMk cId="1424820065" sldId="980"/>
            <ac:grpSpMk id="50" creationId="{70733C87-F50C-4C28-9EA5-8A7A4C393C35}"/>
          </ac:grpSpMkLst>
        </pc:grpChg>
        <pc:grpChg chg="del">
          <ac:chgData name="Denise Rosa Meneghel" userId="8fc516a6-ef1e-4431-90a6-c5c2da25cc8c" providerId="ADAL" clId="{8DFCDFD2-E8FC-4F14-AB26-849A0C9B5781}" dt="2020-06-02T00:05:45.804" v="6" actId="478"/>
          <ac:grpSpMkLst>
            <pc:docMk/>
            <pc:sldMk cId="1424820065" sldId="980"/>
            <ac:grpSpMk id="64" creationId="{FBFA7746-6A53-409D-B06E-0D64EE2B94B3}"/>
          </ac:grpSpMkLst>
        </pc:grpChg>
      </pc:sldChg>
      <pc:sldChg chg="addSp delSp modSp">
        <pc:chgData name="Denise Rosa Meneghel" userId="8fc516a6-ef1e-4431-90a6-c5c2da25cc8c" providerId="ADAL" clId="{8DFCDFD2-E8FC-4F14-AB26-849A0C9B5781}" dt="2020-06-02T00:06:57.865" v="27" actId="20577"/>
        <pc:sldMkLst>
          <pc:docMk/>
          <pc:sldMk cId="2964641476" sldId="981"/>
        </pc:sldMkLst>
        <pc:spChg chg="mod">
          <ac:chgData name="Denise Rosa Meneghel" userId="8fc516a6-ef1e-4431-90a6-c5c2da25cc8c" providerId="ADAL" clId="{8DFCDFD2-E8FC-4F14-AB26-849A0C9B5781}" dt="2020-06-02T00:06:23" v="15" actId="1076"/>
          <ac:spMkLst>
            <pc:docMk/>
            <pc:sldMk cId="2964641476" sldId="981"/>
            <ac:spMk id="22" creationId="{31932B55-1C6E-4B23-AC23-DF7A7F112602}"/>
          </ac:spMkLst>
        </pc:spChg>
        <pc:spChg chg="mod">
          <ac:chgData name="Denise Rosa Meneghel" userId="8fc516a6-ef1e-4431-90a6-c5c2da25cc8c" providerId="ADAL" clId="{8DFCDFD2-E8FC-4F14-AB26-849A0C9B5781}" dt="2020-06-02T00:06:26.517" v="17" actId="20577"/>
          <ac:spMkLst>
            <pc:docMk/>
            <pc:sldMk cId="2964641476" sldId="981"/>
            <ac:spMk id="23" creationId="{44045FE3-2BB3-4A11-AD63-ECFB9EAC1169}"/>
          </ac:spMkLst>
        </pc:spChg>
        <pc:spChg chg="add del">
          <ac:chgData name="Denise Rosa Meneghel" userId="8fc516a6-ef1e-4431-90a6-c5c2da25cc8c" providerId="ADAL" clId="{8DFCDFD2-E8FC-4F14-AB26-849A0C9B5781}" dt="2020-06-02T00:06:45.860" v="18" actId="478"/>
          <ac:spMkLst>
            <pc:docMk/>
            <pc:sldMk cId="2964641476" sldId="981"/>
            <ac:spMk id="67" creationId="{BB2174A1-1A46-45C9-875C-2D24661AA00E}"/>
          </ac:spMkLst>
        </pc:spChg>
        <pc:spChg chg="add del">
          <ac:chgData name="Denise Rosa Meneghel" userId="8fc516a6-ef1e-4431-90a6-c5c2da25cc8c" providerId="ADAL" clId="{8DFCDFD2-E8FC-4F14-AB26-849A0C9B5781}" dt="2020-06-02T00:06:48.386" v="19" actId="478"/>
          <ac:spMkLst>
            <pc:docMk/>
            <pc:sldMk cId="2964641476" sldId="981"/>
            <ac:spMk id="68" creationId="{51B1BD0D-BCD9-464C-86F6-460254F76F5A}"/>
          </ac:spMkLst>
        </pc:spChg>
        <pc:spChg chg="del topLvl">
          <ac:chgData name="Denise Rosa Meneghel" userId="8fc516a6-ef1e-4431-90a6-c5c2da25cc8c" providerId="ADAL" clId="{8DFCDFD2-E8FC-4F14-AB26-849A0C9B5781}" dt="2020-06-02T00:06:15.509" v="13" actId="478"/>
          <ac:spMkLst>
            <pc:docMk/>
            <pc:sldMk cId="2964641476" sldId="981"/>
            <ac:spMk id="73" creationId="{DFE1A7AE-F3DF-4B92-8A1D-B748381192DD}"/>
          </ac:spMkLst>
        </pc:spChg>
        <pc:spChg chg="del topLvl">
          <ac:chgData name="Denise Rosa Meneghel" userId="8fc516a6-ef1e-4431-90a6-c5c2da25cc8c" providerId="ADAL" clId="{8DFCDFD2-E8FC-4F14-AB26-849A0C9B5781}" dt="2020-06-02T00:06:17.447" v="14" actId="478"/>
          <ac:spMkLst>
            <pc:docMk/>
            <pc:sldMk cId="2964641476" sldId="981"/>
            <ac:spMk id="74" creationId="{C04E0E8D-8965-4432-AD7B-5AB54AEA4B9E}"/>
          </ac:spMkLst>
        </pc:spChg>
        <pc:spChg chg="mod">
          <ac:chgData name="Denise Rosa Meneghel" userId="8fc516a6-ef1e-4431-90a6-c5c2da25cc8c" providerId="ADAL" clId="{8DFCDFD2-E8FC-4F14-AB26-849A0C9B5781}" dt="2020-06-02T00:06:57.865" v="27" actId="20577"/>
          <ac:spMkLst>
            <pc:docMk/>
            <pc:sldMk cId="2964641476" sldId="981"/>
            <ac:spMk id="80" creationId="{6D0F4727-F34E-4FE0-90B1-0B32B88F030B}"/>
          </ac:spMkLst>
        </pc:spChg>
        <pc:grpChg chg="del">
          <ac:chgData name="Denise Rosa Meneghel" userId="8fc516a6-ef1e-4431-90a6-c5c2da25cc8c" providerId="ADAL" clId="{8DFCDFD2-E8FC-4F14-AB26-849A0C9B5781}" dt="2020-06-02T00:06:11.601" v="11" actId="478"/>
          <ac:grpSpMkLst>
            <pc:docMk/>
            <pc:sldMk cId="2964641476" sldId="981"/>
            <ac:grpSpMk id="35" creationId="{DD0D353C-80E1-440B-A282-A16F5B65E82B}"/>
          </ac:grpSpMkLst>
        </pc:grpChg>
        <pc:grpChg chg="del">
          <ac:chgData name="Denise Rosa Meneghel" userId="8fc516a6-ef1e-4431-90a6-c5c2da25cc8c" providerId="ADAL" clId="{8DFCDFD2-E8FC-4F14-AB26-849A0C9B5781}" dt="2020-06-02T00:06:11.601" v="11" actId="478"/>
          <ac:grpSpMkLst>
            <pc:docMk/>
            <pc:sldMk cId="2964641476" sldId="981"/>
            <ac:grpSpMk id="53" creationId="{C83B8C9D-BF93-45A8-A6B9-F8A714BB38D4}"/>
          </ac:grpSpMkLst>
        </pc:grpChg>
        <pc:grpChg chg="del">
          <ac:chgData name="Denise Rosa Meneghel" userId="8fc516a6-ef1e-4431-90a6-c5c2da25cc8c" providerId="ADAL" clId="{8DFCDFD2-E8FC-4F14-AB26-849A0C9B5781}" dt="2020-06-02T00:06:11.601" v="11" actId="478"/>
          <ac:grpSpMkLst>
            <pc:docMk/>
            <pc:sldMk cId="2964641476" sldId="981"/>
            <ac:grpSpMk id="61" creationId="{A7F6169F-C961-486B-95FB-04A0747E4CC7}"/>
          </ac:grpSpMkLst>
        </pc:grpChg>
        <pc:grpChg chg="del">
          <ac:chgData name="Denise Rosa Meneghel" userId="8fc516a6-ef1e-4431-90a6-c5c2da25cc8c" providerId="ADAL" clId="{8DFCDFD2-E8FC-4F14-AB26-849A0C9B5781}" dt="2020-06-02T00:06:11.601" v="11" actId="478"/>
          <ac:grpSpMkLst>
            <pc:docMk/>
            <pc:sldMk cId="2964641476" sldId="981"/>
            <ac:grpSpMk id="64" creationId="{597EDBA0-586A-4820-AB65-0FAA87FB2730}"/>
          </ac:grpSpMkLst>
        </pc:grpChg>
        <pc:grpChg chg="add">
          <ac:chgData name="Denise Rosa Meneghel" userId="8fc516a6-ef1e-4431-90a6-c5c2da25cc8c" providerId="ADAL" clId="{8DFCDFD2-E8FC-4F14-AB26-849A0C9B5781}" dt="2020-06-02T00:06:11.818" v="12"/>
          <ac:grpSpMkLst>
            <pc:docMk/>
            <pc:sldMk cId="2964641476" sldId="981"/>
            <ac:grpSpMk id="69" creationId="{7B10835C-7441-4F24-AF33-D99702D7E717}"/>
          </ac:grpSpMkLst>
        </pc:grpChg>
        <pc:grpChg chg="add del">
          <ac:chgData name="Denise Rosa Meneghel" userId="8fc516a6-ef1e-4431-90a6-c5c2da25cc8c" providerId="ADAL" clId="{8DFCDFD2-E8FC-4F14-AB26-849A0C9B5781}" dt="2020-06-02T00:06:15.509" v="13" actId="478"/>
          <ac:grpSpMkLst>
            <pc:docMk/>
            <pc:sldMk cId="2964641476" sldId="981"/>
            <ac:grpSpMk id="72" creationId="{DA692484-F582-4FDE-A458-AAC1FF9E705A}"/>
          </ac:grpSpMkLst>
        </pc:grpChg>
        <pc:grpChg chg="add">
          <ac:chgData name="Denise Rosa Meneghel" userId="8fc516a6-ef1e-4431-90a6-c5c2da25cc8c" providerId="ADAL" clId="{8DFCDFD2-E8FC-4F14-AB26-849A0C9B5781}" dt="2020-06-02T00:06:11.818" v="12"/>
          <ac:grpSpMkLst>
            <pc:docMk/>
            <pc:sldMk cId="2964641476" sldId="981"/>
            <ac:grpSpMk id="75" creationId="{F08334EF-D172-4E7C-AA48-E7256902397B}"/>
          </ac:grpSpMkLst>
        </pc:grpChg>
        <pc:grpChg chg="add mod">
          <ac:chgData name="Denise Rosa Meneghel" userId="8fc516a6-ef1e-4431-90a6-c5c2da25cc8c" providerId="ADAL" clId="{8DFCDFD2-E8FC-4F14-AB26-849A0C9B5781}" dt="2020-06-02T00:06:51.902" v="21" actId="1076"/>
          <ac:grpSpMkLst>
            <pc:docMk/>
            <pc:sldMk cId="2964641476" sldId="981"/>
            <ac:grpSpMk id="78" creationId="{38727D6B-A17F-4CF5-A213-B5F39CAFEF82}"/>
          </ac:grpSpMkLst>
        </pc:grpChg>
      </pc:sldChg>
      <pc:sldChg chg="modSp">
        <pc:chgData name="Denise Rosa Meneghel" userId="8fc516a6-ef1e-4431-90a6-c5c2da25cc8c" providerId="ADAL" clId="{8DFCDFD2-E8FC-4F14-AB26-849A0C9B5781}" dt="2020-06-02T00:14:08.543" v="80" actId="113"/>
        <pc:sldMkLst>
          <pc:docMk/>
          <pc:sldMk cId="115614059" sldId="984"/>
        </pc:sldMkLst>
        <pc:spChg chg="mod">
          <ac:chgData name="Denise Rosa Meneghel" userId="8fc516a6-ef1e-4431-90a6-c5c2da25cc8c" providerId="ADAL" clId="{8DFCDFD2-E8FC-4F14-AB26-849A0C9B5781}" dt="2020-06-02T00:14:08.543" v="80" actId="113"/>
          <ac:spMkLst>
            <pc:docMk/>
            <pc:sldMk cId="115614059" sldId="984"/>
            <ac:spMk id="4" creationId="{3480A116-EF71-4B59-816D-663C34E29D2A}"/>
          </ac:spMkLst>
        </pc:spChg>
      </pc:sldChg>
      <pc:sldChg chg="modSp">
        <pc:chgData name="Denise Rosa Meneghel" userId="8fc516a6-ef1e-4431-90a6-c5c2da25cc8c" providerId="ADAL" clId="{8DFCDFD2-E8FC-4F14-AB26-849A0C9B5781}" dt="2020-06-02T00:14:42.625" v="83" actId="113"/>
        <pc:sldMkLst>
          <pc:docMk/>
          <pc:sldMk cId="3567888269" sldId="985"/>
        </pc:sldMkLst>
        <pc:spChg chg="mod">
          <ac:chgData name="Denise Rosa Meneghel" userId="8fc516a6-ef1e-4431-90a6-c5c2da25cc8c" providerId="ADAL" clId="{8DFCDFD2-E8FC-4F14-AB26-849A0C9B5781}" dt="2020-06-02T00:14:42.625" v="83" actId="113"/>
          <ac:spMkLst>
            <pc:docMk/>
            <pc:sldMk cId="3567888269" sldId="985"/>
            <ac:spMk id="4" creationId="{F4DCBBF6-BF9E-4ECA-AD15-B8896C9262DB}"/>
          </ac:spMkLst>
        </pc:spChg>
      </pc:sldChg>
      <pc:sldChg chg="modSp">
        <pc:chgData name="Denise Rosa Meneghel" userId="8fc516a6-ef1e-4431-90a6-c5c2da25cc8c" providerId="ADAL" clId="{8DFCDFD2-E8FC-4F14-AB26-849A0C9B5781}" dt="2020-06-02T00:23:18.414" v="88" actId="1037"/>
        <pc:sldMkLst>
          <pc:docMk/>
          <pc:sldMk cId="2344092798" sldId="986"/>
        </pc:sldMkLst>
        <pc:spChg chg="mod">
          <ac:chgData name="Denise Rosa Meneghel" userId="8fc516a6-ef1e-4431-90a6-c5c2da25cc8c" providerId="ADAL" clId="{8DFCDFD2-E8FC-4F14-AB26-849A0C9B5781}" dt="2020-06-02T00:23:05.465" v="84" actId="113"/>
          <ac:spMkLst>
            <pc:docMk/>
            <pc:sldMk cId="2344092798" sldId="986"/>
            <ac:spMk id="6" creationId="{5AF92357-D240-4C2E-BB4F-2571A58F0838}"/>
          </ac:spMkLst>
        </pc:spChg>
        <pc:picChg chg="mod">
          <ac:chgData name="Denise Rosa Meneghel" userId="8fc516a6-ef1e-4431-90a6-c5c2da25cc8c" providerId="ADAL" clId="{8DFCDFD2-E8FC-4F14-AB26-849A0C9B5781}" dt="2020-06-02T00:23:18.414" v="88" actId="1037"/>
          <ac:picMkLst>
            <pc:docMk/>
            <pc:sldMk cId="2344092798" sldId="986"/>
            <ac:picMk id="23558" creationId="{E2B459F2-88DF-4BDA-B318-6739E2FD13D5}"/>
          </ac:picMkLst>
        </pc:picChg>
      </pc:sldChg>
      <pc:sldChg chg="modSp">
        <pc:chgData name="Denise Rosa Meneghel" userId="8fc516a6-ef1e-4431-90a6-c5c2da25cc8c" providerId="ADAL" clId="{8DFCDFD2-E8FC-4F14-AB26-849A0C9B5781}" dt="2020-06-02T00:23:40.908" v="89" actId="113"/>
        <pc:sldMkLst>
          <pc:docMk/>
          <pc:sldMk cId="2604856266" sldId="988"/>
        </pc:sldMkLst>
        <pc:spChg chg="mod">
          <ac:chgData name="Denise Rosa Meneghel" userId="8fc516a6-ef1e-4431-90a6-c5c2da25cc8c" providerId="ADAL" clId="{8DFCDFD2-E8FC-4F14-AB26-849A0C9B5781}" dt="2020-06-02T00:23:40.908" v="89" actId="113"/>
          <ac:spMkLst>
            <pc:docMk/>
            <pc:sldMk cId="2604856266" sldId="988"/>
            <ac:spMk id="5" creationId="{92D4BD83-3A89-4371-A003-1891C2E144F4}"/>
          </ac:spMkLst>
        </pc:spChg>
      </pc:sldChg>
      <pc:sldChg chg="modSp">
        <pc:chgData name="Denise Rosa Meneghel" userId="8fc516a6-ef1e-4431-90a6-c5c2da25cc8c" providerId="ADAL" clId="{8DFCDFD2-E8FC-4F14-AB26-849A0C9B5781}" dt="2020-06-02T00:24:06.828" v="91" actId="113"/>
        <pc:sldMkLst>
          <pc:docMk/>
          <pc:sldMk cId="3113626322" sldId="990"/>
        </pc:sldMkLst>
        <pc:spChg chg="mod">
          <ac:chgData name="Denise Rosa Meneghel" userId="8fc516a6-ef1e-4431-90a6-c5c2da25cc8c" providerId="ADAL" clId="{8DFCDFD2-E8FC-4F14-AB26-849A0C9B5781}" dt="2020-06-02T00:24:06.828" v="91" actId="113"/>
          <ac:spMkLst>
            <pc:docMk/>
            <pc:sldMk cId="3113626322" sldId="990"/>
            <ac:spMk id="5" creationId="{92D4BD83-3A89-4371-A003-1891C2E144F4}"/>
          </ac:spMkLst>
        </pc:spChg>
      </pc:sldChg>
      <pc:sldChg chg="modSp modAnim">
        <pc:chgData name="Denise Rosa Meneghel" userId="8fc516a6-ef1e-4431-90a6-c5c2da25cc8c" providerId="ADAL" clId="{8DFCDFD2-E8FC-4F14-AB26-849A0C9B5781}" dt="2020-06-02T02:05:50.693" v="315" actId="20577"/>
        <pc:sldMkLst>
          <pc:docMk/>
          <pc:sldMk cId="2990184034" sldId="994"/>
        </pc:sldMkLst>
        <pc:spChg chg="mod">
          <ac:chgData name="Denise Rosa Meneghel" userId="8fc516a6-ef1e-4431-90a6-c5c2da25cc8c" providerId="ADAL" clId="{8DFCDFD2-E8FC-4F14-AB26-849A0C9B5781}" dt="2020-06-02T02:05:50.693" v="315" actId="20577"/>
          <ac:spMkLst>
            <pc:docMk/>
            <pc:sldMk cId="2990184034" sldId="994"/>
            <ac:spMk id="2" creationId="{6185E8A7-0EC7-462A-80DB-CDD716CCBD28}"/>
          </ac:spMkLst>
        </pc:spChg>
      </pc:sldChg>
      <pc:sldChg chg="modSp">
        <pc:chgData name="Denise Rosa Meneghel" userId="8fc516a6-ef1e-4431-90a6-c5c2da25cc8c" providerId="ADAL" clId="{8DFCDFD2-E8FC-4F14-AB26-849A0C9B5781}" dt="2020-06-02T01:17:46.386" v="313" actId="20577"/>
        <pc:sldMkLst>
          <pc:docMk/>
          <pc:sldMk cId="2778269304" sldId="995"/>
        </pc:sldMkLst>
        <pc:spChg chg="mod">
          <ac:chgData name="Denise Rosa Meneghel" userId="8fc516a6-ef1e-4431-90a6-c5c2da25cc8c" providerId="ADAL" clId="{8DFCDFD2-E8FC-4F14-AB26-849A0C9B5781}" dt="2020-06-02T01:17:46.386" v="313" actId="20577"/>
          <ac:spMkLst>
            <pc:docMk/>
            <pc:sldMk cId="2778269304" sldId="995"/>
            <ac:spMk id="2" creationId="{2F0A2EEE-3623-4AFD-B041-1A8FDE294FEA}"/>
          </ac:spMkLst>
        </pc:spChg>
      </pc:sldChg>
      <pc:sldMasterChg chg="modSldLayout">
        <pc:chgData name="Denise Rosa Meneghel" userId="8fc516a6-ef1e-4431-90a6-c5c2da25cc8c" providerId="ADAL" clId="{8DFCDFD2-E8FC-4F14-AB26-849A0C9B5781}" dt="2020-06-02T01:17:14.449" v="289" actId="478"/>
        <pc:sldMasterMkLst>
          <pc:docMk/>
          <pc:sldMasterMk cId="0" sldId="2147483648"/>
        </pc:sldMasterMkLst>
        <pc:sldLayoutChg chg="delSp">
          <pc:chgData name="Denise Rosa Meneghel" userId="8fc516a6-ef1e-4431-90a6-c5c2da25cc8c" providerId="ADAL" clId="{8DFCDFD2-E8FC-4F14-AB26-849A0C9B5781}" dt="2020-06-02T01:17:04.277" v="287" actId="478"/>
          <pc:sldLayoutMkLst>
            <pc:docMk/>
            <pc:sldMasterMk cId="0" sldId="2147483648"/>
            <pc:sldLayoutMk cId="1602733509" sldId="2147483738"/>
          </pc:sldLayoutMkLst>
          <pc:spChg chg="del">
            <ac:chgData name="Denise Rosa Meneghel" userId="8fc516a6-ef1e-4431-90a6-c5c2da25cc8c" providerId="ADAL" clId="{8DFCDFD2-E8FC-4F14-AB26-849A0C9B5781}" dt="2020-06-02T01:17:04.277" v="287" actId="478"/>
            <ac:spMkLst>
              <pc:docMk/>
              <pc:sldMasterMk cId="0" sldId="2147483648"/>
              <pc:sldLayoutMk cId="1602733509" sldId="2147483738"/>
              <ac:spMk id="11" creationId="{00000000-0000-0000-0000-000000000000}"/>
            </ac:spMkLst>
          </pc:spChg>
        </pc:sldLayoutChg>
        <pc:sldLayoutChg chg="delSp">
          <pc:chgData name="Denise Rosa Meneghel" userId="8fc516a6-ef1e-4431-90a6-c5c2da25cc8c" providerId="ADAL" clId="{8DFCDFD2-E8FC-4F14-AB26-849A0C9B5781}" dt="2020-06-02T01:17:07.811" v="288" actId="478"/>
          <pc:sldLayoutMkLst>
            <pc:docMk/>
            <pc:sldMasterMk cId="0" sldId="2147483648"/>
            <pc:sldLayoutMk cId="4039162409" sldId="2147483739"/>
          </pc:sldLayoutMkLst>
          <pc:spChg chg="del">
            <ac:chgData name="Denise Rosa Meneghel" userId="8fc516a6-ef1e-4431-90a6-c5c2da25cc8c" providerId="ADAL" clId="{8DFCDFD2-E8FC-4F14-AB26-849A0C9B5781}" dt="2020-06-02T01:17:07.811" v="288" actId="478"/>
            <ac:spMkLst>
              <pc:docMk/>
              <pc:sldMasterMk cId="0" sldId="2147483648"/>
              <pc:sldLayoutMk cId="4039162409" sldId="2147483739"/>
              <ac:spMk id="11" creationId="{00000000-0000-0000-0000-000000000000}"/>
            </ac:spMkLst>
          </pc:spChg>
        </pc:sldLayoutChg>
        <pc:sldLayoutChg chg="delSp modSp">
          <pc:chgData name="Denise Rosa Meneghel" userId="8fc516a6-ef1e-4431-90a6-c5c2da25cc8c" providerId="ADAL" clId="{8DFCDFD2-E8FC-4F14-AB26-849A0C9B5781}" dt="2020-06-02T01:16:28.758" v="275" actId="20577"/>
          <pc:sldLayoutMkLst>
            <pc:docMk/>
            <pc:sldMasterMk cId="0" sldId="2147483648"/>
            <pc:sldLayoutMk cId="304317792" sldId="2147483740"/>
          </pc:sldLayoutMkLst>
          <pc:spChg chg="mod">
            <ac:chgData name="Denise Rosa Meneghel" userId="8fc516a6-ef1e-4431-90a6-c5c2da25cc8c" providerId="ADAL" clId="{8DFCDFD2-E8FC-4F14-AB26-849A0C9B5781}" dt="2020-06-02T01:16:28.758" v="275" actId="20577"/>
            <ac:spMkLst>
              <pc:docMk/>
              <pc:sldMasterMk cId="0" sldId="2147483648"/>
              <pc:sldLayoutMk cId="304317792" sldId="2147483740"/>
              <ac:spMk id="6" creationId="{00000000-0000-0000-0000-000000000000}"/>
            </ac:spMkLst>
          </pc:spChg>
          <pc:spChg chg="del">
            <ac:chgData name="Denise Rosa Meneghel" userId="8fc516a6-ef1e-4431-90a6-c5c2da25cc8c" providerId="ADAL" clId="{8DFCDFD2-E8FC-4F14-AB26-849A0C9B5781}" dt="2020-06-02T01:16:21.188" v="259" actId="478"/>
            <ac:spMkLst>
              <pc:docMk/>
              <pc:sldMasterMk cId="0" sldId="2147483648"/>
              <pc:sldLayoutMk cId="304317792" sldId="2147483740"/>
              <ac:spMk id="11" creationId="{00000000-0000-0000-0000-000000000000}"/>
            </ac:spMkLst>
          </pc:spChg>
        </pc:sldLayoutChg>
        <pc:sldLayoutChg chg="delSp modSp">
          <pc:chgData name="Denise Rosa Meneghel" userId="8fc516a6-ef1e-4431-90a6-c5c2da25cc8c" providerId="ADAL" clId="{8DFCDFD2-E8FC-4F14-AB26-849A0C9B5781}" dt="2020-06-02T01:17:14.449" v="289" actId="478"/>
          <pc:sldLayoutMkLst>
            <pc:docMk/>
            <pc:sldMasterMk cId="0" sldId="2147483648"/>
            <pc:sldLayoutMk cId="1969286254" sldId="2147483741"/>
          </pc:sldLayoutMkLst>
          <pc:spChg chg="mod">
            <ac:chgData name="Denise Rosa Meneghel" userId="8fc516a6-ef1e-4431-90a6-c5c2da25cc8c" providerId="ADAL" clId="{8DFCDFD2-E8FC-4F14-AB26-849A0C9B5781}" dt="2020-06-02T01:16:36.420" v="286" actId="20577"/>
            <ac:spMkLst>
              <pc:docMk/>
              <pc:sldMasterMk cId="0" sldId="2147483648"/>
              <pc:sldLayoutMk cId="1969286254" sldId="2147483741"/>
              <ac:spMk id="6" creationId="{00000000-0000-0000-0000-000000000000}"/>
            </ac:spMkLst>
          </pc:spChg>
          <pc:spChg chg="del">
            <ac:chgData name="Denise Rosa Meneghel" userId="8fc516a6-ef1e-4431-90a6-c5c2da25cc8c" providerId="ADAL" clId="{8DFCDFD2-E8FC-4F14-AB26-849A0C9B5781}" dt="2020-06-02T01:17:14.449" v="289" actId="478"/>
            <ac:spMkLst>
              <pc:docMk/>
              <pc:sldMasterMk cId="0" sldId="2147483648"/>
              <pc:sldLayoutMk cId="1969286254" sldId="2147483741"/>
              <ac:spMk id="11" creationId="{00000000-0000-0000-0000-000000000000}"/>
            </ac:spMkLst>
          </pc:spChg>
        </pc:sldLayoutChg>
      </pc:sldMasterChg>
    </pc:docChg>
  </pc:docChgLst>
  <pc:docChgLst>
    <pc:chgData name="Denise Rosa Meneghel" userId="8fc516a6-ef1e-4431-90a6-c5c2da25cc8c" providerId="ADAL" clId="{FF62F382-D3A6-458F-9DC5-255DF029F743}"/>
    <pc:docChg chg="delSld modSld sldOrd">
      <pc:chgData name="Denise Rosa Meneghel" userId="8fc516a6-ef1e-4431-90a6-c5c2da25cc8c" providerId="ADAL" clId="{FF62F382-D3A6-458F-9DC5-255DF029F743}" dt="2020-06-02T18:31:00.374" v="4"/>
      <pc:docMkLst>
        <pc:docMk/>
      </pc:docMkLst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0" sldId="256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3936132516" sldId="929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3670932865" sldId="940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2627014328" sldId="942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109518011" sldId="943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1372338394" sldId="947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4052778589" sldId="948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2532092085" sldId="950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533698083" sldId="951"/>
        </pc:sldMkLst>
      </pc:sldChg>
      <pc:sldChg chg="mod modTransition modShow">
        <pc:chgData name="Denise Rosa Meneghel" userId="8fc516a6-ef1e-4431-90a6-c5c2da25cc8c" providerId="ADAL" clId="{FF62F382-D3A6-458F-9DC5-255DF029F743}" dt="2020-06-02T18:30:35.992" v="1"/>
        <pc:sldMkLst>
          <pc:docMk/>
          <pc:sldMk cId="3420689582" sldId="962"/>
        </pc:sldMkLst>
      </pc:sldChg>
      <pc:sldChg chg="mod modTransition modShow">
        <pc:chgData name="Denise Rosa Meneghel" userId="8fc516a6-ef1e-4431-90a6-c5c2da25cc8c" providerId="ADAL" clId="{FF62F382-D3A6-458F-9DC5-255DF029F743}" dt="2020-06-02T18:30:35.992" v="1"/>
        <pc:sldMkLst>
          <pc:docMk/>
          <pc:sldMk cId="3756517046" sldId="963"/>
        </pc:sldMkLst>
      </pc:sldChg>
      <pc:sldChg chg="mod modTransition modShow">
        <pc:chgData name="Denise Rosa Meneghel" userId="8fc516a6-ef1e-4431-90a6-c5c2da25cc8c" providerId="ADAL" clId="{FF62F382-D3A6-458F-9DC5-255DF029F743}" dt="2020-06-02T18:30:35.992" v="1"/>
        <pc:sldMkLst>
          <pc:docMk/>
          <pc:sldMk cId="2026694668" sldId="964"/>
        </pc:sldMkLst>
      </pc:sldChg>
      <pc:sldChg chg="mod modTransition modShow">
        <pc:chgData name="Denise Rosa Meneghel" userId="8fc516a6-ef1e-4431-90a6-c5c2da25cc8c" providerId="ADAL" clId="{FF62F382-D3A6-458F-9DC5-255DF029F743}" dt="2020-06-02T18:30:35.992" v="1"/>
        <pc:sldMkLst>
          <pc:docMk/>
          <pc:sldMk cId="160128016" sldId="966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3658874748" sldId="970"/>
        </pc:sldMkLst>
      </pc:sldChg>
      <pc:sldChg chg="ord">
        <pc:chgData name="Denise Rosa Meneghel" userId="8fc516a6-ef1e-4431-90a6-c5c2da25cc8c" providerId="ADAL" clId="{FF62F382-D3A6-458F-9DC5-255DF029F743}" dt="2020-06-02T18:31:00.374" v="4"/>
        <pc:sldMkLst>
          <pc:docMk/>
          <pc:sldMk cId="204961625" sldId="975"/>
        </pc:sldMkLst>
      </pc:sldChg>
      <pc:sldChg chg="del">
        <pc:chgData name="Denise Rosa Meneghel" userId="8fc516a6-ef1e-4431-90a6-c5c2da25cc8c" providerId="ADAL" clId="{FF62F382-D3A6-458F-9DC5-255DF029F743}" dt="2020-06-02T18:30:40.752" v="2" actId="47"/>
        <pc:sldMkLst>
          <pc:docMk/>
          <pc:sldMk cId="3478764426" sldId="976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1663163115" sldId="977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97415269" sldId="978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1424820065" sldId="980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2964641476" sldId="981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1511635286" sldId="982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1040342045" sldId="983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115614059" sldId="984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3567888269" sldId="985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2344092798" sldId="986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3115840647" sldId="987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2604856266" sldId="988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1500846479" sldId="989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3113626322" sldId="990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740879951" sldId="991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2161196273" sldId="993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2990184034" sldId="994"/>
        </pc:sldMkLst>
      </pc:sldChg>
      <pc:sldChg chg="del">
        <pc:chgData name="Denise Rosa Meneghel" userId="8fc516a6-ef1e-4431-90a6-c5c2da25cc8c" providerId="ADAL" clId="{FF62F382-D3A6-458F-9DC5-255DF029F743}" dt="2020-06-02T18:30:58.053" v="3" actId="47"/>
        <pc:sldMkLst>
          <pc:docMk/>
          <pc:sldMk cId="2778269304" sldId="99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06232" cy="51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951" tIns="43977" rIns="87951" bIns="43977" numCol="1" anchor="t" anchorCtr="0" compatLnSpc="1">
            <a:prstTxWarp prst="textNoShape">
              <a:avLst/>
            </a:prstTxWarp>
          </a:bodyPr>
          <a:lstStyle>
            <a:lvl1pPr>
              <a:defRPr sz="11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759" y="1"/>
            <a:ext cx="2906232" cy="51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951" tIns="43977" rIns="87951" bIns="43977" numCol="1" anchor="t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4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0432"/>
            <a:ext cx="2906232" cy="442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951" tIns="43977" rIns="87951" bIns="43977" numCol="1" anchor="b" anchorCtr="0" compatLnSpc="1">
            <a:prstTxWarp prst="textNoShape">
              <a:avLst/>
            </a:prstTxWarp>
          </a:bodyPr>
          <a:lstStyle>
            <a:lvl1pPr>
              <a:defRPr sz="11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759" y="9440432"/>
            <a:ext cx="2906232" cy="442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951" tIns="43977" rIns="87951" bIns="43977" numCol="1" anchor="b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pPr>
              <a:defRPr/>
            </a:pPr>
            <a:fld id="{47F7237D-F2A0-4061-B513-26EB17A1428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58522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3479" cy="494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70" tIns="47634" rIns="95270" bIns="47634" numCol="1" anchor="t" anchorCtr="0" compatLnSpc="1">
            <a:prstTxWarp prst="textNoShape">
              <a:avLst/>
            </a:prstTxWarp>
          </a:bodyPr>
          <a:lstStyle>
            <a:lvl1pPr defTabSz="952811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5622" y="0"/>
            <a:ext cx="2933479" cy="494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70" tIns="47634" rIns="95270" bIns="47634" numCol="1" anchor="t" anchorCtr="0" compatLnSpc="1">
            <a:prstTxWarp prst="textNoShape">
              <a:avLst/>
            </a:prstTxWarp>
          </a:bodyPr>
          <a:lstStyle>
            <a:lvl1pPr algn="r" defTabSz="952811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2550" y="742950"/>
            <a:ext cx="6604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2144" y="4704852"/>
            <a:ext cx="4964813" cy="4457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70" tIns="47634" rIns="95270" bIns="4763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11240"/>
            <a:ext cx="2933479" cy="494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70" tIns="47634" rIns="95270" bIns="47634" numCol="1" anchor="b" anchorCtr="0" compatLnSpc="1">
            <a:prstTxWarp prst="textNoShape">
              <a:avLst/>
            </a:prstTxWarp>
          </a:bodyPr>
          <a:lstStyle>
            <a:lvl1pPr defTabSz="952811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5622" y="9411240"/>
            <a:ext cx="2933479" cy="494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70" tIns="47634" rIns="95270" bIns="47634" numCol="1" anchor="b" anchorCtr="0" compatLnSpc="1">
            <a:prstTxWarp prst="textNoShape">
              <a:avLst/>
            </a:prstTxWarp>
          </a:bodyPr>
          <a:lstStyle>
            <a:lvl1pPr algn="r" defTabSz="952811">
              <a:defRPr sz="1200"/>
            </a:lvl1pPr>
          </a:lstStyle>
          <a:p>
            <a:pPr>
              <a:defRPr/>
            </a:pPr>
            <a:fld id="{0E4E43CA-789B-48A1-A962-CA365E49C929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15433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4E43CA-789B-48A1-A962-CA365E49C929}" type="slidenum">
              <a:rPr lang="de-DE" smtClean="0"/>
              <a:pPr>
                <a:defRPr/>
              </a:pPr>
              <a:t>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2959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pt-BR" sz="1200" dirty="0"/>
              <a:t>Qual é o problema da usuária? Violência domestic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200" dirty="0"/>
              <a:t>Por que ela usaria a função? Está ameaçada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200" dirty="0"/>
              <a:t>Qual o contexto da usuária no momento que ela precisará utilizar a função? Talvez consiga usar um celular, talvez sua condição não permita.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200" dirty="0"/>
              <a:t>Como a empresa utiliza os dados que já possui para ajudar a usuária? Poderia enviar a denuncia com os dados de localização, não apenas discar 180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2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Isso realmente vai ajudar? Como vai ajudar?</a:t>
            </a:r>
            <a:endParaRPr lang="pt-BR" sz="1200" dirty="0"/>
          </a:p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4E43CA-789B-48A1-A962-CA365E49C929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2999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pt-BR" sz="1200" dirty="0"/>
              <a:t>Que elementos poderiam ser adicionados ou eliminados para melhorar o design da interface? </a:t>
            </a:r>
            <a:r>
              <a:rPr lang="pt-BR" sz="1200" i="1" dirty="0"/>
              <a:t>Carrinho de compras camuflado? Enviar dados da pessoa?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200" dirty="0"/>
              <a:t>Quais são as limitações da interação proposta? Chamada de voz: será possível falar? Expressar?</a:t>
            </a:r>
          </a:p>
          <a:p>
            <a:pPr marL="228600" indent="-228600">
              <a:buFont typeface="+mj-lt"/>
              <a:buAutoNum type="arabicPeriod"/>
            </a:pPr>
            <a:r>
              <a:rPr lang="pt-BR" sz="1200" dirty="0"/>
              <a:t>Quais estilos de interação estão presentes nesta proposta? Menu, Linguagem natural (pesquisa), WIMP (ícone), comando (180)</a:t>
            </a:r>
          </a:p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4E43CA-789B-48A1-A962-CA365E49C929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0288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32F2ED-F82A-449A-BF17-70A933526D1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6" name="Retângulo 5"/>
          <p:cNvSpPr/>
          <p:nvPr userDrawn="1"/>
        </p:nvSpPr>
        <p:spPr bwMode="auto">
          <a:xfrm>
            <a:off x="8316416" y="123478"/>
            <a:ext cx="720080" cy="576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780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0"/>
            <a:ext cx="7848103" cy="466799"/>
          </a:xfrm>
        </p:spPr>
        <p:txBody>
          <a:bodyPr bIns="0" anchor="t"/>
          <a:lstStyle>
            <a:lvl1pPr>
              <a:defRPr sz="14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"/>
          <p:cNvSpPr txBox="1">
            <a:spLocks noChangeArrowheads="1"/>
          </p:cNvSpPr>
          <p:nvPr userDrawn="1"/>
        </p:nvSpPr>
        <p:spPr bwMode="auto">
          <a:xfrm rot="16200000">
            <a:off x="4423302" y="-3951151"/>
            <a:ext cx="297395" cy="91440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" wrap="square" lIns="0" tIns="2304000" rIns="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2pPr>
            <a:lvl3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3pPr>
            <a:lvl4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4pPr>
            <a:lvl5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5pPr>
            <a:lvl6pPr marL="457200" algn="l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6pPr>
            <a:lvl7pPr marL="914400" algn="l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7pPr>
            <a:lvl8pPr marL="1371600" algn="l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8pPr>
            <a:lvl9pPr marL="1828800" algn="l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900" kern="0" dirty="0">
                <a:solidFill>
                  <a:srgbClr val="149B56"/>
                </a:solidFill>
                <a:latin typeface="Arial Black" panose="020B0A04020102020204" pitchFamily="34" charset="0"/>
              </a:rPr>
              <a:t>Next Steps</a:t>
            </a:r>
          </a:p>
        </p:txBody>
      </p:sp>
      <p:sp>
        <p:nvSpPr>
          <p:cNvPr id="7" name="Retângulo: Cantos Arredondados 6"/>
          <p:cNvSpPr/>
          <p:nvPr userDrawn="1"/>
        </p:nvSpPr>
        <p:spPr bwMode="auto">
          <a:xfrm>
            <a:off x="468313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Retângulo: Cantos Arredondados 7"/>
          <p:cNvSpPr/>
          <p:nvPr userDrawn="1"/>
        </p:nvSpPr>
        <p:spPr bwMode="auto">
          <a:xfrm>
            <a:off x="724900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9" name="Retângulo: Cantos Arredondados 8"/>
          <p:cNvSpPr/>
          <p:nvPr userDrawn="1"/>
        </p:nvSpPr>
        <p:spPr bwMode="auto">
          <a:xfrm>
            <a:off x="981487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10" name="Retângulo: Cantos Arredondados 9"/>
          <p:cNvSpPr/>
          <p:nvPr userDrawn="1"/>
        </p:nvSpPr>
        <p:spPr bwMode="auto">
          <a:xfrm>
            <a:off x="1238074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11" name="Retângulo: Cantos Arredondados 10"/>
          <p:cNvSpPr/>
          <p:nvPr userDrawn="1"/>
        </p:nvSpPr>
        <p:spPr bwMode="auto">
          <a:xfrm>
            <a:off x="1494661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5</a:t>
            </a:r>
          </a:p>
        </p:txBody>
      </p:sp>
      <p:sp>
        <p:nvSpPr>
          <p:cNvPr id="12" name="Retângulo: Cantos Arredondados 11"/>
          <p:cNvSpPr/>
          <p:nvPr userDrawn="1"/>
        </p:nvSpPr>
        <p:spPr bwMode="auto">
          <a:xfrm>
            <a:off x="1751248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6</a:t>
            </a:r>
          </a:p>
        </p:txBody>
      </p:sp>
      <p:sp>
        <p:nvSpPr>
          <p:cNvPr id="13" name="Retângulo: Cantos Arredondados 12"/>
          <p:cNvSpPr/>
          <p:nvPr userDrawn="1"/>
        </p:nvSpPr>
        <p:spPr bwMode="auto">
          <a:xfrm>
            <a:off x="2007835" y="516548"/>
            <a:ext cx="208610" cy="208610"/>
          </a:xfrm>
          <a:prstGeom prst="roundRect">
            <a:avLst/>
          </a:prstGeom>
          <a:solidFill>
            <a:srgbClr val="149B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780030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2C104-9BD7-4080-9FA1-990F92F8D7DE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0D5AF3-EDB6-4A26-ADA7-8CCCF9946AA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CB37B2-4F79-4039-8676-DC010BB9D10E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823075" y="86916"/>
            <a:ext cx="2070100" cy="4861322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11189" y="86916"/>
            <a:ext cx="6059487" cy="4861322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4D8EFE-9299-44D3-B756-239FBECAC7C0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ítulo e text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86916"/>
            <a:ext cx="7334250" cy="770334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611188" y="959644"/>
            <a:ext cx="4064000" cy="3988594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2"/>
          </p:nvPr>
        </p:nvSpPr>
        <p:spPr>
          <a:xfrm>
            <a:off x="4827589" y="959644"/>
            <a:ext cx="4065587" cy="1937147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3"/>
          </p:nvPr>
        </p:nvSpPr>
        <p:spPr>
          <a:xfrm>
            <a:off x="4827589" y="3011091"/>
            <a:ext cx="4065587" cy="1937147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3907A-A5F5-42FA-B44B-E1FC05821501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66770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59924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61734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65592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9814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232743"/>
            <a:ext cx="7848103" cy="466799"/>
          </a:xfrm>
        </p:spPr>
        <p:txBody>
          <a:bodyPr bIns="0" anchor="t"/>
          <a:lstStyle>
            <a:lvl1pPr>
              <a:defRPr sz="18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26636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2849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13321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5879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782867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74978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30863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0136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733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8177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446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0"/>
            <a:ext cx="7848103" cy="466799"/>
          </a:xfrm>
        </p:spPr>
        <p:txBody>
          <a:bodyPr bIns="0" anchor="t"/>
          <a:lstStyle>
            <a:lvl1pPr>
              <a:defRPr sz="14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6" name="Rectangle 2"/>
          <p:cNvSpPr txBox="1">
            <a:spLocks noChangeArrowheads="1"/>
          </p:cNvSpPr>
          <p:nvPr userDrawn="1"/>
        </p:nvSpPr>
        <p:spPr bwMode="auto">
          <a:xfrm rot="16200000">
            <a:off x="4423302" y="-3951151"/>
            <a:ext cx="297395" cy="91440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" wrap="square" lIns="0" tIns="1836000" rIns="0" bIns="7200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eaLnBrk="1" hangingPunct="1">
              <a:lnSpc>
                <a:spcPct val="100000"/>
              </a:lnSpc>
              <a:defRPr sz="900" kern="0">
                <a:solidFill>
                  <a:srgbClr val="149B56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  <a:lvl2pPr>
              <a:lnSpc>
                <a:spcPts val="3200"/>
              </a:lnSpc>
              <a:defRPr sz="2800">
                <a:solidFill>
                  <a:srgbClr val="808080"/>
                </a:solidFill>
              </a:defRPr>
            </a:lvl2pPr>
            <a:lvl3pPr>
              <a:lnSpc>
                <a:spcPts val="3200"/>
              </a:lnSpc>
              <a:defRPr sz="2800">
                <a:solidFill>
                  <a:srgbClr val="808080"/>
                </a:solidFill>
              </a:defRPr>
            </a:lvl3pPr>
            <a:lvl4pPr>
              <a:lnSpc>
                <a:spcPts val="3200"/>
              </a:lnSpc>
              <a:defRPr sz="2800">
                <a:solidFill>
                  <a:srgbClr val="808080"/>
                </a:solidFill>
              </a:defRPr>
            </a:lvl4pPr>
            <a:lvl5pPr>
              <a:lnSpc>
                <a:spcPts val="3200"/>
              </a:lnSpc>
              <a:defRPr sz="2800">
                <a:solidFill>
                  <a:srgbClr val="808080"/>
                </a:solidFill>
              </a:defRPr>
            </a:lvl5pPr>
            <a:lvl6pPr marL="4572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6pPr>
            <a:lvl7pPr marL="9144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7pPr>
            <a:lvl8pPr marL="13716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8pPr>
            <a:lvl9pPr marL="18288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9pPr>
          </a:lstStyle>
          <a:p>
            <a:pPr lvl="0"/>
            <a:r>
              <a:rPr lang="en-US" dirty="0" err="1"/>
              <a:t>Introdução</a:t>
            </a:r>
            <a:endParaRPr lang="en-US" dirty="0"/>
          </a:p>
        </p:txBody>
      </p:sp>
      <p:sp>
        <p:nvSpPr>
          <p:cNvPr id="7" name="Retângulo: Cantos Arredondados 6"/>
          <p:cNvSpPr/>
          <p:nvPr userDrawn="1"/>
        </p:nvSpPr>
        <p:spPr bwMode="auto">
          <a:xfrm>
            <a:off x="468313" y="516548"/>
            <a:ext cx="208610" cy="208610"/>
          </a:xfrm>
          <a:prstGeom prst="roundRect">
            <a:avLst/>
          </a:prstGeom>
          <a:solidFill>
            <a:srgbClr val="149B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Retângulo: Cantos Arredondados 7"/>
          <p:cNvSpPr/>
          <p:nvPr userDrawn="1"/>
        </p:nvSpPr>
        <p:spPr bwMode="auto">
          <a:xfrm>
            <a:off x="724900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9" name="Retângulo: Cantos Arredondados 8"/>
          <p:cNvSpPr/>
          <p:nvPr userDrawn="1"/>
        </p:nvSpPr>
        <p:spPr bwMode="auto">
          <a:xfrm>
            <a:off x="981487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10" name="Retângulo: Cantos Arredondados 9"/>
          <p:cNvSpPr/>
          <p:nvPr userDrawn="1"/>
        </p:nvSpPr>
        <p:spPr bwMode="auto">
          <a:xfrm>
            <a:off x="1238074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027335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08795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6505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0972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49168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91339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57662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6156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14424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0323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040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116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0"/>
            <a:ext cx="7848103" cy="466799"/>
          </a:xfrm>
        </p:spPr>
        <p:txBody>
          <a:bodyPr bIns="0" anchor="t"/>
          <a:lstStyle>
            <a:lvl1pPr>
              <a:defRPr sz="14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"/>
          <p:cNvSpPr txBox="1">
            <a:spLocks noChangeArrowheads="1"/>
          </p:cNvSpPr>
          <p:nvPr userDrawn="1"/>
        </p:nvSpPr>
        <p:spPr bwMode="auto">
          <a:xfrm rot="16200000">
            <a:off x="4423302" y="-3951151"/>
            <a:ext cx="297395" cy="91440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" wrap="square" lIns="0" tIns="1836000" rIns="0" bIns="7200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lvl="0" eaLnBrk="1" hangingPunct="1">
              <a:lnSpc>
                <a:spcPct val="100000"/>
              </a:lnSpc>
              <a:defRPr sz="900" kern="0">
                <a:solidFill>
                  <a:srgbClr val="149B56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  <a:lvl2pPr>
              <a:lnSpc>
                <a:spcPts val="3200"/>
              </a:lnSpc>
              <a:defRPr sz="2800">
                <a:solidFill>
                  <a:srgbClr val="808080"/>
                </a:solidFill>
              </a:defRPr>
            </a:lvl2pPr>
            <a:lvl3pPr>
              <a:lnSpc>
                <a:spcPts val="3200"/>
              </a:lnSpc>
              <a:defRPr sz="2800">
                <a:solidFill>
                  <a:srgbClr val="808080"/>
                </a:solidFill>
              </a:defRPr>
            </a:lvl3pPr>
            <a:lvl4pPr>
              <a:lnSpc>
                <a:spcPts val="3200"/>
              </a:lnSpc>
              <a:defRPr sz="2800">
                <a:solidFill>
                  <a:srgbClr val="808080"/>
                </a:solidFill>
              </a:defRPr>
            </a:lvl4pPr>
            <a:lvl5pPr>
              <a:lnSpc>
                <a:spcPts val="3200"/>
              </a:lnSpc>
              <a:defRPr sz="2800">
                <a:solidFill>
                  <a:srgbClr val="808080"/>
                </a:solidFill>
              </a:defRPr>
            </a:lvl5pPr>
            <a:lvl6pPr marL="4572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6pPr>
            <a:lvl7pPr marL="9144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7pPr>
            <a:lvl8pPr marL="13716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8pPr>
            <a:lvl9pPr marL="18288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9pPr>
          </a:lstStyle>
          <a:p>
            <a:pPr lvl="0"/>
            <a:r>
              <a:rPr lang="pt-BR" dirty="0"/>
              <a:t>Tipos de Interface e Interação</a:t>
            </a:r>
          </a:p>
        </p:txBody>
      </p:sp>
      <p:sp>
        <p:nvSpPr>
          <p:cNvPr id="7" name="Retângulo: Cantos Arredondados 6"/>
          <p:cNvSpPr/>
          <p:nvPr userDrawn="1"/>
        </p:nvSpPr>
        <p:spPr bwMode="auto">
          <a:xfrm>
            <a:off x="468313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Retângulo: Cantos Arredondados 7"/>
          <p:cNvSpPr/>
          <p:nvPr userDrawn="1"/>
        </p:nvSpPr>
        <p:spPr bwMode="auto">
          <a:xfrm>
            <a:off x="724900" y="516548"/>
            <a:ext cx="208610" cy="208610"/>
          </a:xfrm>
          <a:prstGeom prst="roundRect">
            <a:avLst/>
          </a:prstGeom>
          <a:solidFill>
            <a:srgbClr val="149B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9" name="Retângulo: Cantos Arredondados 8"/>
          <p:cNvSpPr/>
          <p:nvPr userDrawn="1"/>
        </p:nvSpPr>
        <p:spPr bwMode="auto">
          <a:xfrm>
            <a:off x="981487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10" name="Retângulo: Cantos Arredondados 9"/>
          <p:cNvSpPr/>
          <p:nvPr userDrawn="1"/>
        </p:nvSpPr>
        <p:spPr bwMode="auto">
          <a:xfrm>
            <a:off x="1238074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0391624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15952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7913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40607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85917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57140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22301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94025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270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1874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0"/>
            <a:ext cx="7848103" cy="466799"/>
          </a:xfrm>
        </p:spPr>
        <p:txBody>
          <a:bodyPr bIns="0" anchor="t"/>
          <a:lstStyle>
            <a:lvl1pPr>
              <a:defRPr sz="14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"/>
          <p:cNvSpPr txBox="1">
            <a:spLocks noChangeArrowheads="1"/>
          </p:cNvSpPr>
          <p:nvPr userDrawn="1"/>
        </p:nvSpPr>
        <p:spPr bwMode="auto">
          <a:xfrm rot="16200000">
            <a:off x="4423302" y="-3951151"/>
            <a:ext cx="297395" cy="91440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" wrap="square" lIns="0" tIns="1836000" rIns="0" bIns="7200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lvl="0" eaLnBrk="1" hangingPunct="1">
              <a:lnSpc>
                <a:spcPct val="100000"/>
              </a:lnSpc>
              <a:defRPr sz="900" kern="0">
                <a:solidFill>
                  <a:srgbClr val="149B56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  <a:lvl2pPr>
              <a:lnSpc>
                <a:spcPts val="3200"/>
              </a:lnSpc>
              <a:defRPr sz="2800">
                <a:solidFill>
                  <a:srgbClr val="808080"/>
                </a:solidFill>
              </a:defRPr>
            </a:lvl2pPr>
            <a:lvl3pPr>
              <a:lnSpc>
                <a:spcPts val="3200"/>
              </a:lnSpc>
              <a:defRPr sz="2800">
                <a:solidFill>
                  <a:srgbClr val="808080"/>
                </a:solidFill>
              </a:defRPr>
            </a:lvl3pPr>
            <a:lvl4pPr>
              <a:lnSpc>
                <a:spcPts val="3200"/>
              </a:lnSpc>
              <a:defRPr sz="2800">
                <a:solidFill>
                  <a:srgbClr val="808080"/>
                </a:solidFill>
              </a:defRPr>
            </a:lvl4pPr>
            <a:lvl5pPr>
              <a:lnSpc>
                <a:spcPts val="3200"/>
              </a:lnSpc>
              <a:defRPr sz="2800">
                <a:solidFill>
                  <a:srgbClr val="808080"/>
                </a:solidFill>
              </a:defRPr>
            </a:lvl5pPr>
            <a:lvl6pPr marL="4572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6pPr>
            <a:lvl7pPr marL="9144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7pPr>
            <a:lvl8pPr marL="13716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8pPr>
            <a:lvl9pPr marL="18288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9pPr>
          </a:lstStyle>
          <a:p>
            <a:pPr lvl="0"/>
            <a:r>
              <a:rPr lang="en-US" dirty="0" err="1"/>
              <a:t>Conclusões</a:t>
            </a:r>
            <a:endParaRPr lang="en-US" dirty="0"/>
          </a:p>
        </p:txBody>
      </p:sp>
      <p:sp>
        <p:nvSpPr>
          <p:cNvPr id="7" name="Retângulo: Cantos Arredondados 6"/>
          <p:cNvSpPr/>
          <p:nvPr userDrawn="1"/>
        </p:nvSpPr>
        <p:spPr bwMode="auto">
          <a:xfrm>
            <a:off x="468313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Retângulo: Cantos Arredondados 7"/>
          <p:cNvSpPr/>
          <p:nvPr userDrawn="1"/>
        </p:nvSpPr>
        <p:spPr bwMode="auto">
          <a:xfrm>
            <a:off x="724900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9" name="Retângulo: Cantos Arredondados 8"/>
          <p:cNvSpPr/>
          <p:nvPr userDrawn="1"/>
        </p:nvSpPr>
        <p:spPr bwMode="auto">
          <a:xfrm>
            <a:off x="981487" y="516548"/>
            <a:ext cx="208610" cy="208610"/>
          </a:xfrm>
          <a:prstGeom prst="roundRect">
            <a:avLst/>
          </a:prstGeom>
          <a:solidFill>
            <a:srgbClr val="149B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10" name="Retângulo: Cantos Arredondados 9"/>
          <p:cNvSpPr/>
          <p:nvPr userDrawn="1"/>
        </p:nvSpPr>
        <p:spPr bwMode="auto">
          <a:xfrm>
            <a:off x="1238074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4317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 sem 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0"/>
            <a:ext cx="7848103" cy="466799"/>
          </a:xfrm>
        </p:spPr>
        <p:txBody>
          <a:bodyPr bIns="0" anchor="t"/>
          <a:lstStyle>
            <a:lvl1pPr>
              <a:defRPr sz="14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"/>
          <p:cNvSpPr txBox="1">
            <a:spLocks noChangeArrowheads="1"/>
          </p:cNvSpPr>
          <p:nvPr userDrawn="1"/>
        </p:nvSpPr>
        <p:spPr bwMode="auto">
          <a:xfrm rot="16200000">
            <a:off x="4423302" y="-3951151"/>
            <a:ext cx="297395" cy="91440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" wrap="square" lIns="0" tIns="1836000" rIns="0" bIns="7200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lvl="0" eaLnBrk="1" hangingPunct="1">
              <a:lnSpc>
                <a:spcPct val="100000"/>
              </a:lnSpc>
              <a:defRPr sz="900" kern="0">
                <a:solidFill>
                  <a:srgbClr val="149B56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  <a:lvl2pPr>
              <a:lnSpc>
                <a:spcPts val="3200"/>
              </a:lnSpc>
              <a:defRPr sz="2800">
                <a:solidFill>
                  <a:srgbClr val="808080"/>
                </a:solidFill>
              </a:defRPr>
            </a:lvl2pPr>
            <a:lvl3pPr>
              <a:lnSpc>
                <a:spcPts val="3200"/>
              </a:lnSpc>
              <a:defRPr sz="2800">
                <a:solidFill>
                  <a:srgbClr val="808080"/>
                </a:solidFill>
              </a:defRPr>
            </a:lvl3pPr>
            <a:lvl4pPr>
              <a:lnSpc>
                <a:spcPts val="3200"/>
              </a:lnSpc>
              <a:defRPr sz="2800">
                <a:solidFill>
                  <a:srgbClr val="808080"/>
                </a:solidFill>
              </a:defRPr>
            </a:lvl4pPr>
            <a:lvl5pPr>
              <a:lnSpc>
                <a:spcPts val="3200"/>
              </a:lnSpc>
              <a:defRPr sz="2800">
                <a:solidFill>
                  <a:srgbClr val="808080"/>
                </a:solidFill>
              </a:defRPr>
            </a:lvl5pPr>
            <a:lvl6pPr marL="4572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6pPr>
            <a:lvl7pPr marL="9144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7pPr>
            <a:lvl8pPr marL="13716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8pPr>
            <a:lvl9pPr marL="18288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7" name="Retângulo: Cantos Arredondados 6"/>
          <p:cNvSpPr/>
          <p:nvPr userDrawn="1"/>
        </p:nvSpPr>
        <p:spPr bwMode="auto">
          <a:xfrm>
            <a:off x="468313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Retângulo: Cantos Arredondados 7"/>
          <p:cNvSpPr/>
          <p:nvPr userDrawn="1"/>
        </p:nvSpPr>
        <p:spPr bwMode="auto">
          <a:xfrm>
            <a:off x="724900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9" name="Retângulo: Cantos Arredondados 8"/>
          <p:cNvSpPr/>
          <p:nvPr userDrawn="1"/>
        </p:nvSpPr>
        <p:spPr bwMode="auto">
          <a:xfrm>
            <a:off x="981487" y="516548"/>
            <a:ext cx="208610" cy="208610"/>
          </a:xfrm>
          <a:prstGeom prst="roundRect">
            <a:avLst/>
          </a:prstGeom>
          <a:solidFill>
            <a:srgbClr val="149B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10" name="Retângulo: Cantos Arredondados 9"/>
          <p:cNvSpPr/>
          <p:nvPr userDrawn="1"/>
        </p:nvSpPr>
        <p:spPr bwMode="auto">
          <a:xfrm>
            <a:off x="1238074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11" name="Retângulo: Cantos Arredondados 10"/>
          <p:cNvSpPr/>
          <p:nvPr userDrawn="1"/>
        </p:nvSpPr>
        <p:spPr bwMode="auto">
          <a:xfrm>
            <a:off x="1494661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8893171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0"/>
            <a:ext cx="7848103" cy="466799"/>
          </a:xfrm>
        </p:spPr>
        <p:txBody>
          <a:bodyPr bIns="0" anchor="t"/>
          <a:lstStyle>
            <a:lvl1pPr>
              <a:defRPr sz="14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"/>
          <p:cNvSpPr txBox="1">
            <a:spLocks noChangeArrowheads="1"/>
          </p:cNvSpPr>
          <p:nvPr userDrawn="1"/>
        </p:nvSpPr>
        <p:spPr bwMode="auto">
          <a:xfrm rot="16200000">
            <a:off x="4423302" y="-3951151"/>
            <a:ext cx="297395" cy="91440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" wrap="square" lIns="0" tIns="1836000" rIns="0" bIns="7200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lvl="0" eaLnBrk="1" hangingPunct="1">
              <a:lnSpc>
                <a:spcPct val="100000"/>
              </a:lnSpc>
              <a:defRPr sz="900" kern="0">
                <a:solidFill>
                  <a:srgbClr val="149B56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  <a:lvl2pPr>
              <a:lnSpc>
                <a:spcPts val="3200"/>
              </a:lnSpc>
              <a:defRPr sz="2800">
                <a:solidFill>
                  <a:srgbClr val="808080"/>
                </a:solidFill>
              </a:defRPr>
            </a:lvl2pPr>
            <a:lvl3pPr>
              <a:lnSpc>
                <a:spcPts val="3200"/>
              </a:lnSpc>
              <a:defRPr sz="2800">
                <a:solidFill>
                  <a:srgbClr val="808080"/>
                </a:solidFill>
              </a:defRPr>
            </a:lvl3pPr>
            <a:lvl4pPr>
              <a:lnSpc>
                <a:spcPts val="3200"/>
              </a:lnSpc>
              <a:defRPr sz="2800">
                <a:solidFill>
                  <a:srgbClr val="808080"/>
                </a:solidFill>
              </a:defRPr>
            </a:lvl4pPr>
            <a:lvl5pPr>
              <a:lnSpc>
                <a:spcPts val="3200"/>
              </a:lnSpc>
              <a:defRPr sz="2800">
                <a:solidFill>
                  <a:srgbClr val="808080"/>
                </a:solidFill>
              </a:defRPr>
            </a:lvl5pPr>
            <a:lvl6pPr marL="4572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6pPr>
            <a:lvl7pPr marL="9144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7pPr>
            <a:lvl8pPr marL="13716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8pPr>
            <a:lvl9pPr marL="18288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9pPr>
          </a:lstStyle>
          <a:p>
            <a:pPr lvl="0"/>
            <a:r>
              <a:rPr lang="en-US" dirty="0" err="1"/>
              <a:t>Referências</a:t>
            </a:r>
            <a:endParaRPr lang="en-US" dirty="0"/>
          </a:p>
        </p:txBody>
      </p:sp>
      <p:sp>
        <p:nvSpPr>
          <p:cNvPr id="7" name="Retângulo: Cantos Arredondados 6"/>
          <p:cNvSpPr/>
          <p:nvPr userDrawn="1"/>
        </p:nvSpPr>
        <p:spPr bwMode="auto">
          <a:xfrm>
            <a:off x="468313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Retângulo: Cantos Arredondados 7"/>
          <p:cNvSpPr/>
          <p:nvPr userDrawn="1"/>
        </p:nvSpPr>
        <p:spPr bwMode="auto">
          <a:xfrm>
            <a:off x="724900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9" name="Retângulo: Cantos Arredondados 8"/>
          <p:cNvSpPr/>
          <p:nvPr userDrawn="1"/>
        </p:nvSpPr>
        <p:spPr bwMode="auto">
          <a:xfrm>
            <a:off x="981487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10" name="Retângulo: Cantos Arredondados 9"/>
          <p:cNvSpPr/>
          <p:nvPr userDrawn="1"/>
        </p:nvSpPr>
        <p:spPr bwMode="auto">
          <a:xfrm>
            <a:off x="1238074" y="516548"/>
            <a:ext cx="208610" cy="208610"/>
          </a:xfrm>
          <a:prstGeom prst="roundRect">
            <a:avLst/>
          </a:prstGeom>
          <a:solidFill>
            <a:srgbClr val="149B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69286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4872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0"/>
            <a:ext cx="7848103" cy="466799"/>
          </a:xfrm>
        </p:spPr>
        <p:txBody>
          <a:bodyPr bIns="0" anchor="t"/>
          <a:lstStyle>
            <a:lvl1pPr>
              <a:defRPr sz="14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"/>
          <p:cNvSpPr txBox="1">
            <a:spLocks noChangeArrowheads="1"/>
          </p:cNvSpPr>
          <p:nvPr userDrawn="1"/>
        </p:nvSpPr>
        <p:spPr bwMode="auto">
          <a:xfrm rot="16200000">
            <a:off x="4423302" y="-3951151"/>
            <a:ext cx="297395" cy="91440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" wrap="square" lIns="0" tIns="1836000" rIns="0" bIns="7200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lvl="0" eaLnBrk="1" hangingPunct="1">
              <a:lnSpc>
                <a:spcPct val="100000"/>
              </a:lnSpc>
              <a:defRPr sz="900" kern="0">
                <a:solidFill>
                  <a:srgbClr val="149B56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  <a:lvl2pPr>
              <a:lnSpc>
                <a:spcPts val="3200"/>
              </a:lnSpc>
              <a:defRPr sz="2800">
                <a:solidFill>
                  <a:srgbClr val="808080"/>
                </a:solidFill>
              </a:defRPr>
            </a:lvl2pPr>
            <a:lvl3pPr>
              <a:lnSpc>
                <a:spcPts val="3200"/>
              </a:lnSpc>
              <a:defRPr sz="2800">
                <a:solidFill>
                  <a:srgbClr val="808080"/>
                </a:solidFill>
              </a:defRPr>
            </a:lvl3pPr>
            <a:lvl4pPr>
              <a:lnSpc>
                <a:spcPts val="3200"/>
              </a:lnSpc>
              <a:defRPr sz="2800">
                <a:solidFill>
                  <a:srgbClr val="808080"/>
                </a:solidFill>
              </a:defRPr>
            </a:lvl4pPr>
            <a:lvl5pPr>
              <a:lnSpc>
                <a:spcPts val="3200"/>
              </a:lnSpc>
              <a:defRPr sz="2800">
                <a:solidFill>
                  <a:srgbClr val="808080"/>
                </a:solidFill>
              </a:defRPr>
            </a:lvl5pPr>
            <a:lvl6pPr marL="4572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6pPr>
            <a:lvl7pPr marL="9144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7pPr>
            <a:lvl8pPr marL="13716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8pPr>
            <a:lvl9pPr marL="18288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9pPr>
          </a:lstStyle>
          <a:p>
            <a:pPr lvl="0"/>
            <a:r>
              <a:rPr lang="pt-BR" dirty="0"/>
              <a:t>Referências</a:t>
            </a:r>
            <a:endParaRPr lang="en-US" dirty="0"/>
          </a:p>
        </p:txBody>
      </p:sp>
      <p:sp>
        <p:nvSpPr>
          <p:cNvPr id="7" name="Retângulo: Cantos Arredondados 6"/>
          <p:cNvSpPr/>
          <p:nvPr userDrawn="1"/>
        </p:nvSpPr>
        <p:spPr bwMode="auto">
          <a:xfrm>
            <a:off x="468313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Retângulo: Cantos Arredondados 7"/>
          <p:cNvSpPr/>
          <p:nvPr userDrawn="1"/>
        </p:nvSpPr>
        <p:spPr bwMode="auto">
          <a:xfrm>
            <a:off x="724900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9" name="Retângulo: Cantos Arredondados 8"/>
          <p:cNvSpPr/>
          <p:nvPr userDrawn="1"/>
        </p:nvSpPr>
        <p:spPr bwMode="auto">
          <a:xfrm>
            <a:off x="981487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10" name="Retângulo: Cantos Arredondados 9"/>
          <p:cNvSpPr/>
          <p:nvPr userDrawn="1"/>
        </p:nvSpPr>
        <p:spPr bwMode="auto">
          <a:xfrm>
            <a:off x="1238074" y="516548"/>
            <a:ext cx="208610" cy="208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11" name="Retângulo: Cantos Arredondados 10"/>
          <p:cNvSpPr/>
          <p:nvPr userDrawn="1"/>
        </p:nvSpPr>
        <p:spPr bwMode="auto">
          <a:xfrm>
            <a:off x="1494661" y="516548"/>
            <a:ext cx="208610" cy="208610"/>
          </a:xfrm>
          <a:prstGeom prst="roundRect">
            <a:avLst/>
          </a:prstGeom>
          <a:solidFill>
            <a:srgbClr val="149B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 Black" panose="020B0A040201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46830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64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68313" y="0"/>
            <a:ext cx="7848103" cy="466799"/>
          </a:xfrm>
        </p:spPr>
        <p:txBody>
          <a:bodyPr bIns="0" anchor="t"/>
          <a:lstStyle>
            <a:lvl1pPr>
              <a:defRPr sz="1400"/>
            </a:lvl1pPr>
          </a:lstStyle>
          <a:p>
            <a:r>
              <a:rPr lang="pt-BR" dirty="0"/>
              <a:t>Discussão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79F965-837E-4001-A6E0-3580E31183FC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827089" y="4972050"/>
            <a:ext cx="5672137" cy="1714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"/>
          <p:cNvSpPr txBox="1">
            <a:spLocks noChangeArrowheads="1"/>
          </p:cNvSpPr>
          <p:nvPr userDrawn="1"/>
        </p:nvSpPr>
        <p:spPr bwMode="auto">
          <a:xfrm rot="16200000">
            <a:off x="4423302" y="-3951151"/>
            <a:ext cx="297395" cy="91440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" wrap="square" lIns="0" tIns="1836000" rIns="0" bIns="7200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lvl="0" eaLnBrk="1" hangingPunct="1">
              <a:lnSpc>
                <a:spcPct val="100000"/>
              </a:lnSpc>
              <a:defRPr sz="900" kern="0">
                <a:solidFill>
                  <a:srgbClr val="149B56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  <a:lvl2pPr>
              <a:lnSpc>
                <a:spcPts val="3200"/>
              </a:lnSpc>
              <a:defRPr sz="2800">
                <a:solidFill>
                  <a:srgbClr val="808080"/>
                </a:solidFill>
              </a:defRPr>
            </a:lvl2pPr>
            <a:lvl3pPr>
              <a:lnSpc>
                <a:spcPts val="3200"/>
              </a:lnSpc>
              <a:defRPr sz="2800">
                <a:solidFill>
                  <a:srgbClr val="808080"/>
                </a:solidFill>
              </a:defRPr>
            </a:lvl3pPr>
            <a:lvl4pPr>
              <a:lnSpc>
                <a:spcPts val="3200"/>
              </a:lnSpc>
              <a:defRPr sz="2800">
                <a:solidFill>
                  <a:srgbClr val="808080"/>
                </a:solidFill>
              </a:defRPr>
            </a:lvl4pPr>
            <a:lvl5pPr>
              <a:lnSpc>
                <a:spcPts val="3200"/>
              </a:lnSpc>
              <a:defRPr sz="2800">
                <a:solidFill>
                  <a:srgbClr val="808080"/>
                </a:solidFill>
              </a:defRPr>
            </a:lvl5pPr>
            <a:lvl6pPr marL="4572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6pPr>
            <a:lvl7pPr marL="9144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7pPr>
            <a:lvl8pPr marL="13716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8pPr>
            <a:lvl9pPr marL="182880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</a:defRPr>
            </a:lvl9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280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12.v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vmlDrawing" Target="../drawings/vmlDrawing13.v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2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28796387"/>
              </p:ext>
            </p:ext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19" imgW="270" imgH="270" progId="TCLayout.ActiveDocument.1">
                  <p:embed/>
                </p:oleObj>
              </mc:Choice>
              <mc:Fallback>
                <p:oleObj name="Slide do think-cell" r:id="rId19" imgW="270" imgH="270" progId="TCLayout.ActiveDocument.1">
                  <p:embed/>
                  <p:pic>
                    <p:nvPicPr>
                      <p:cNvPr id="1026" name="Object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8" name="Rectangle 14"/>
          <p:cNvSpPr>
            <a:spLocks noChangeArrowheads="1"/>
          </p:cNvSpPr>
          <p:nvPr/>
        </p:nvSpPr>
        <p:spPr bwMode="auto">
          <a:xfrm>
            <a:off x="0" y="4972050"/>
            <a:ext cx="9144000" cy="171450"/>
          </a:xfrm>
          <a:prstGeom prst="rect">
            <a:avLst/>
          </a:prstGeom>
          <a:solidFill>
            <a:schemeClr val="tx1">
              <a:alpha val="2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rIns="0" anchor="ctr"/>
          <a:lstStyle/>
          <a:p>
            <a:pPr algn="ctr">
              <a:defRPr/>
            </a:pPr>
            <a:endParaRPr lang="pt-BR" sz="1400"/>
          </a:p>
        </p:txBody>
      </p:sp>
      <p:sp>
        <p:nvSpPr>
          <p:cNvPr id="1029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60735"/>
            <a:ext cx="7704137" cy="52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30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006079"/>
            <a:ext cx="8077200" cy="37719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41" name="Rectangle 1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6938" y="4972050"/>
            <a:ext cx="3810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pPr>
              <a:defRPr/>
            </a:pPr>
            <a:fld id="{78ECBB22-32E2-45A7-863E-EBD9DE6B51A5}" type="slidenum">
              <a:rPr lang="de-DE"/>
              <a:pPr>
                <a:defRPr/>
              </a:pPr>
              <a:t>‹nº›</a:t>
            </a:fld>
            <a:endParaRPr lang="de-DE" dirty="0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6705600" y="342900"/>
            <a:ext cx="1524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pt-BR"/>
          </a:p>
        </p:txBody>
      </p:sp>
      <p:pic>
        <p:nvPicPr>
          <p:cNvPr id="1325" name="Picture 301" descr="Marca UDESC">
            <a:extLst>
              <a:ext uri="{FF2B5EF4-FFF2-40B4-BE49-F238E27FC236}">
                <a16:creationId xmlns:a16="http://schemas.microsoft.com/office/drawing/2014/main" id="{3116E2FF-CCB9-4F6A-9C49-E4A7D347B3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46398"/>
            <a:ext cx="685594" cy="27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692" r:id="rId2"/>
    <p:sldLayoutId id="2147483738" r:id="rId3"/>
    <p:sldLayoutId id="2147483739" r:id="rId4"/>
    <p:sldLayoutId id="2147483740" r:id="rId5"/>
    <p:sldLayoutId id="2147483745" r:id="rId6"/>
    <p:sldLayoutId id="2147483741" r:id="rId7"/>
    <p:sldLayoutId id="2147483742" r:id="rId8"/>
    <p:sldLayoutId id="2147483743" r:id="rId9"/>
    <p:sldLayoutId id="2147483744" r:id="rId10"/>
    <p:sldLayoutId id="2147483693" r:id="rId11"/>
    <p:sldLayoutId id="2147483695" r:id="rId12"/>
    <p:sldLayoutId id="2147483696" r:id="rId13"/>
    <p:sldLayoutId id="2147483697" r:id="rId14"/>
    <p:sldLayoutId id="2147483698" r:id="rId15"/>
  </p:sldLayoutIdLst>
  <p:hf hdr="0" ftr="0" dt="0"/>
  <p:txStyles>
    <p:titleStyle>
      <a:lvl1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Arial" charset="0"/>
        </a:defRPr>
      </a:lvl2pPr>
      <a:lvl3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Arial" charset="0"/>
        </a:defRPr>
      </a:lvl3pPr>
      <a:lvl4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Arial" charset="0"/>
        </a:defRPr>
      </a:lvl4pPr>
      <a:lvl5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Arial" charset="0"/>
        </a:defRPr>
      </a:lvl5pPr>
      <a:lvl6pPr marL="457200" algn="l" rtl="0" fontAlgn="base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Arial" charset="0"/>
        </a:defRPr>
      </a:lvl6pPr>
      <a:lvl7pPr marL="914400" algn="l" rtl="0" fontAlgn="base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Arial" charset="0"/>
        </a:defRPr>
      </a:lvl7pPr>
      <a:lvl8pPr marL="1371600" algn="l" rtl="0" fontAlgn="base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Arial" charset="0"/>
        </a:defRPr>
      </a:lvl8pPr>
      <a:lvl9pPr marL="1828800" algn="l" rtl="0" fontAlgn="base">
        <a:lnSpc>
          <a:spcPts val="3200"/>
        </a:lnSpc>
        <a:spcBef>
          <a:spcPct val="0"/>
        </a:spcBef>
        <a:spcAft>
          <a:spcPct val="0"/>
        </a:spcAft>
        <a:defRPr sz="2800">
          <a:solidFill>
            <a:srgbClr val="80808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5pPr>
      <a:lvl6pPr marL="24384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6pPr>
      <a:lvl7pPr marL="28956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7pPr>
      <a:lvl8pPr marL="33528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8pPr>
      <a:lvl9pPr marL="38100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08750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Slide do think-cell" r:id="rId15" imgW="421" imgH="423" progId="TCLayout.ActiveDocument.1">
                  <p:embed/>
                </p:oleObj>
              </mc:Choice>
              <mc:Fallback>
                <p:oleObj name="Slide do think-cell" r:id="rId15" imgW="421" imgH="423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059819-28C2-4E4F-B645-9617CD25BF85}" type="datetimeFigureOut">
              <a:rPr lang="pt-BR" smtClean="0"/>
              <a:t>02/06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869A9B-7C2E-48EE-B0E4-C6C2FBF0D5F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7440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Slide do think-cell" r:id="rId15" imgW="421" imgH="423" progId="TCLayout.ActiveDocument.1">
                  <p:embed/>
                </p:oleObj>
              </mc:Choice>
              <mc:Fallback>
                <p:oleObj name="Slide do think-cell" r:id="rId15" imgW="421" imgH="423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531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Slide do think-cell" r:id="rId15" imgW="421" imgH="423" progId="TCLayout.ActiveDocument.1">
                  <p:embed/>
                </p:oleObj>
              </mc:Choice>
              <mc:Fallback>
                <p:oleObj name="Slide do think-cell" r:id="rId15" imgW="421" imgH="423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E059819-28C2-4E4F-B645-9617CD25BF85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2/06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869A9B-7C2E-48EE-B0E4-C6C2FBF0D5F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83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09F4E0-2CE7-49E1-B624-7D0BBCD1B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iscussão</a:t>
            </a:r>
            <a:endParaRPr lang="en-US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A245C170-770C-4288-94F1-E030E22B1B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9F965-837E-4001-A6E0-3580E31183FC}" type="slidenum">
              <a:rPr lang="de-DE" smtClean="0"/>
              <a:pPr>
                <a:defRPr/>
              </a:pPr>
              <a:t>0</a:t>
            </a:fld>
            <a:endParaRPr lang="de-DE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99EC5AA0-EC22-4653-AE71-B96127B989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0485" y="864096"/>
            <a:ext cx="3263030" cy="4083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5170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09F4E0-2CE7-49E1-B624-7D0BBCD1B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iscussão</a:t>
            </a:r>
            <a:endParaRPr lang="en-US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A245C170-770C-4288-94F1-E030E22B1B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9F965-837E-4001-A6E0-3580E31183FC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  <p:pic>
        <p:nvPicPr>
          <p:cNvPr id="19458" name="Picture 2" descr="https://lh3.googleusercontent.com/CJsufUnme1ECzHTJviT0rIaHsC-2cp44QVqGjMegRnKvd8fvD430dkr5aBH9YAd6auRmJzDg4l0r7Knv4R_LXJ4hxFX21SYsGFhdLaj40OXgCCpFkrkD8Lq9x3_raoDUZb-BFW8Yuk4oarRPjIUo5shSQsrsQKgRDmFxneLiZ7rLC9Kim8jwBrPeWCCBd8A9AodgK2xAZx_AT02D_4U0FLk92RLnwY_f_7ZvyhALpC8Di6eQs1VUbjIrBFguuo7kynHrzIwVIfMBmrevMBugEN3-b0XtDGRuvqke3NKEioaX4d5pt6ta2GLx4XCeIhH9obsAAlP527RYMbb0dOP4lZv74fy1RHcetFLql0AKizQhoLZXD2Q3REhTTn2lE4G1NisHfqCf4ANsB_6sEpgSnZZPyXsMiEZnbMfCXFDe8XOPEQ_a46tz5hdoi9pqhOkfLmBJeCFhMOP4iiDs5l9xxrDM9F41rmRMsfM59i2zn7TsMAHmold5K416m92rMMqT2ksTWLAqOMm_GDz_SYlNDprzdxAmdZhKat4R3ErBTTLx8d1xJC1gbv8Y5NM3M6TXkV1GejDwlvEiEnDxP_cYTODS1GsNPzYdLWywDETWkT-Jtens_6WC2tUbmTMkxcn77ifTSvcGsoBqossN8xZZ4HX9PhCBM_qsb-ANe2AnZ17Jb39gdIvKmFE=w528-h937-no?authuser=1">
            <a:extLst>
              <a:ext uri="{FF2B5EF4-FFF2-40B4-BE49-F238E27FC236}">
                <a16:creationId xmlns:a16="http://schemas.microsoft.com/office/drawing/2014/main" id="{CBB94919-C379-4AE2-8E88-7BE2337736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85508"/>
            <a:ext cx="2059611" cy="366253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https://lh3.googleusercontent.com/3N_R1juqiC9cWSKtWopyyjzg6qVAajqwhyaRvoU9dL0tJWV2qLHxPDAfDjEFKrc4SjyXejoH4uaZ9K_UqBQ1bZfAjynFYiPeiM2ChHrHP-4uX8-PCsfmfGDK2i1AkQ6NNqZF49zkpz9pp4EZwtRJg4MhGJ1v7MVvEZl_e8z0y9bWHFwpy0ZWgTO9X3R5GJUmVkrgTnWaz0fbA1X6wBA8aP_EnGhNTN76d24wDjBt3dC__HUiWwyz7-Llc_VEfUFcHEieLpwnC1x5LFmt5ZWEOBs60CxmOKJP9aBQ6XBVJzwOlWLsaGRMv4zcKitBhzvAbqaNmytvD6wrPfj3OYOJjIOwVuZwiAXPFvIm2ln_GrxIz7DE35V_njJFA_aU_Q7l-8vXcViW_v3DNirhJQzMOuP-XixKbKp5s7erjtTvvQdoAMrYanbMk7dYdfYPvISNztk5BuTRiSwpupKK5LaKqXxckP2_7NpZ97W3wxGHm_IT5_tv-lrnLGk7jbav3dX6K9tIc0PCRWXcANOIPz1GCf1CxRYiHIr-bQBZlHinO81Amoi_uuKuVRckgExPFNdNzkgKMV7k4cKpmIc3sOHhuaSOxroNhicd4HlpdiE1JkCVTulQIpvaB7tlLBFfwG_doQxPH-ghRuiQwSVa5iSTgmS0lFLd3EXrkGW5bcb-0ZZ1daAD7Hu3zyw=w528-h937-no?authuser=1">
            <a:extLst>
              <a:ext uri="{FF2B5EF4-FFF2-40B4-BE49-F238E27FC236}">
                <a16:creationId xmlns:a16="http://schemas.microsoft.com/office/drawing/2014/main" id="{6C5EC9E1-49AE-4F23-8F82-AC20CC2F0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574" y="985508"/>
            <a:ext cx="2059611" cy="366253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2" name="Picture 6" descr="https://lh3.googleusercontent.com/rNe29Vm7ncJuGdDWo7m8UDizhpEjAgB-HvHCiw0fXxQBu86PmNqYNW235_6dbuH6pN6eHDiSfu3JTBllZuSbYwH9F-V9Bx_3StlZu8ADILAt1DyP57xbeEmxW09szFWvA9MQJspySTBSPUoLgxivBUpCOydWcl46qgIga9ZDHrV6Mg8TsjnbVRq-M2PnOJkZ38mMjTRzksLhtfCIYYO-5ghwUl8VmFef9tzUHZLlz1jVtzRZAeUXLEfSE-rLnEO5CO7LQ3CzD2X4wswRSlajWb8w4AMY_VXmy6EsuOSZoqjBNipjUTXzjhSqBw9y2GR1uBW6JSMzjIHvIo7O4j8JHGNhR-AUcYZbN_EqA_SLj5ud5vJaEHFBE5DKZLrQCD_VyooJxBB07kMb4KcWPQEL-x5VvFpDeHeezsDLDg4odftwtwHHE4Pqv2U8TvojPh37SVBOuT-G3fW-C7bKBHr5ctKkfQrni7CXOj4d4CUdafRcJih4rbt-y2oYlQe0g_HHH0snGipEaZEtgA3Tv18_v4lX3IpSZfoGdhX3-WYNVZEQXSZHnKH6Lb9r-hzm3cXmXdaU5pPloeCyu3GQ09-bdNQV-ScZJnmBfLPQ2wsHbYkwE0sfUXmBBJtvWAUwftG2VA2eh-idkiEcYjQzbhulxbgBmorEW9VxtAV3vlCeDn1oGuorm-fN8dw=w528-h937-no?authuser=1">
            <a:extLst>
              <a:ext uri="{FF2B5EF4-FFF2-40B4-BE49-F238E27FC236}">
                <a16:creationId xmlns:a16="http://schemas.microsoft.com/office/drawing/2014/main" id="{F0ACA3B5-2243-45D8-AA6C-9AD12AE6AF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612" y="985508"/>
            <a:ext cx="2059611" cy="366253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AA174A94-E8DD-4863-BC8A-7FAB3AB1C4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8649" y="983443"/>
            <a:ext cx="2028571" cy="366666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20689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4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09F4E0-2CE7-49E1-B624-7D0BBCD1B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iscussão</a:t>
            </a:r>
            <a:endParaRPr lang="en-US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A245C170-770C-4288-94F1-E030E22B1B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9F965-837E-4001-A6E0-3580E31183FC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99EC5AA0-EC22-4653-AE71-B96127B989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0485" y="864096"/>
            <a:ext cx="3263030" cy="4083918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B925E4B9-3CE2-4FCB-8BA8-3D96BEC785DC}"/>
              </a:ext>
            </a:extLst>
          </p:cNvPr>
          <p:cNvSpPr/>
          <p:nvPr/>
        </p:nvSpPr>
        <p:spPr>
          <a:xfrm>
            <a:off x="3707904" y="784426"/>
            <a:ext cx="4464496" cy="2828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t-BR" sz="1200" dirty="0"/>
              <a:t>Qual é o problema da usuária?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t-BR" sz="1200" dirty="0"/>
              <a:t>Por que ela usaria a função?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t-BR" sz="1200" dirty="0"/>
              <a:t>Qual o contexto da usuária no momento que ela precisará utilizar a função?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t-BR" sz="1200" dirty="0"/>
              <a:t>Como a empresa utiliza os dados que já possui para ajudar a usuária?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t-BR" sz="1200" dirty="0"/>
              <a:t>Qual o caminho que a usuária deve percorrer para atingir seu objetivo?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endParaRPr lang="pt-BR" sz="1200" dirty="0"/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endParaRPr lang="en-US" sz="1200" dirty="0"/>
          </a:p>
        </p:txBody>
      </p:sp>
      <p:pic>
        <p:nvPicPr>
          <p:cNvPr id="20482" name="Picture 2" descr="https://lh3.googleusercontent.com/NNEAZUrN1PxNvyCkdps8BCqRwpX63TxNBnx5cs3fAOKea-dRrmG7yhglWu0w0vmsKxqzM354HyJN1zeTlN-m1ADIbxDz70f7k6FeUktdeIirzVgBnntrzKd3y6Ek60CgnN80u_d7b07loUh0StltCYBsBbcqMBMVcAwUp8MPCiT9TAizZFeJsr1PZbxoI2QhKlfufgOucdqxu6CSyp9mG6g-eYHcl45wnGhGLJfKvt_AWAGUchhdxRk3_6Jw1z_8AgUnXhuW8gulbRx83lZWxln-EkoCWbIr9j0oh8kqqEvvMiSxhh6yw10rHadQHwZh6tHHnbBchXwhXfkMXgjM7GxQ-lxUkWbsHxjYKQYXl5jTwi4gTWDMU-rAZvt87s1BL0GV3xRJGOTYAAMNhLxNsn34me6Gb3Xnv50auR_n__boutxBRiAINFwGNdT7ZpekzrC72TmCEBMznmNAH93Ia4FpV9yPkfB2KrSvNh_uPhrUTu9v6V_HDbc8DSLdJhnAI9tjl642yfeaqwFiQuqdnrGdR5UWAUlmgYQumKd9ErP5PhYqUYIPxlRSqdOCshJiztzclfg9hL2nUL7baX8W_GP8Rya7d8Ut6r7qWL1J_AI2U3qnw0PCRkvf_g4FMvoY6PndzxjVNwvuuzOjQgY-ZCyDjUXn1Z8AKOG_53RjT0mykIM6eX3-31w=w528-h937-no?authuser=1">
            <a:extLst>
              <a:ext uri="{FF2B5EF4-FFF2-40B4-BE49-F238E27FC236}">
                <a16:creationId xmlns:a16="http://schemas.microsoft.com/office/drawing/2014/main" id="{B562E42F-6BD5-4F8E-AE10-C0B941F88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440" y="3099854"/>
            <a:ext cx="981244" cy="174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lh3.googleusercontent.com/CJsufUnme1ECzHTJviT0rIaHsC-2cp44QVqGjMegRnKvd8fvD430dkr5aBH9YAd6auRmJzDg4l0r7Knv4R_LXJ4hxFX21SYsGFhdLaj40OXgCCpFkrkD8Lq9x3_raoDUZb-BFW8Yuk4oarRPjIUo5shSQsrsQKgRDmFxneLiZ7rLC9Kim8jwBrPeWCCBd8A9AodgK2xAZx_AT02D_4U0FLk92RLnwY_f_7ZvyhALpC8Di6eQs1VUbjIrBFguuo7kynHrzIwVIfMBmrevMBugEN3-b0XtDGRuvqke3NKEioaX4d5pt6ta2GLx4XCeIhH9obsAAlP527RYMbb0dOP4lZv74fy1RHcetFLql0AKizQhoLZXD2Q3REhTTn2lE4G1NisHfqCf4ANsB_6sEpgSnZZPyXsMiEZnbMfCXFDe8XOPEQ_a46tz5hdoi9pqhOkfLmBJeCFhMOP4iiDs5l9xxrDM9F41rmRMsfM59i2zn7TsMAHmold5K416m92rMMqT2ksTWLAqOMm_GDz_SYlNDprzdxAmdZhKat4R3ErBTTLx8d1xJC1gbv8Y5NM3M6TXkV1GejDwlvEiEnDxP_cYTODS1GsNPzYdLWywDETWkT-Jtens_6WC2tUbmTMkxcn77ifTSvcGsoBqossN8xZZ4HX9PhCBM_qsb-ANe2AnZ17Jb39gdIvKmFE=w528-h937-no?authuser=1">
            <a:extLst>
              <a:ext uri="{FF2B5EF4-FFF2-40B4-BE49-F238E27FC236}">
                <a16:creationId xmlns:a16="http://schemas.microsoft.com/office/drawing/2014/main" id="{4448D975-B590-4576-97C1-7D0D5B68B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6261" y="3099855"/>
            <a:ext cx="981243" cy="17449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s://lh3.googleusercontent.com/3N_R1juqiC9cWSKtWopyyjzg6qVAajqwhyaRvoU9dL0tJWV2qLHxPDAfDjEFKrc4SjyXejoH4uaZ9K_UqBQ1bZfAjynFYiPeiM2ChHrHP-4uX8-PCsfmfGDK2i1AkQ6NNqZF49zkpz9pp4EZwtRJg4MhGJ1v7MVvEZl_e8z0y9bWHFwpy0ZWgTO9X3R5GJUmVkrgTnWaz0fbA1X6wBA8aP_EnGhNTN76d24wDjBt3dC__HUiWwyz7-Llc_VEfUFcHEieLpwnC1x5LFmt5ZWEOBs60CxmOKJP9aBQ6XBVJzwOlWLsaGRMv4zcKitBhzvAbqaNmytvD6wrPfj3OYOJjIOwVuZwiAXPFvIm2ln_GrxIz7DE35V_njJFA_aU_Q7l-8vXcViW_v3DNirhJQzMOuP-XixKbKp5s7erjtTvvQdoAMrYanbMk7dYdfYPvISNztk5BuTRiSwpupKK5LaKqXxckP2_7NpZ97W3wxGHm_IT5_tv-lrnLGk7jbav3dX6K9tIc0PCRWXcANOIPz1GCf1CxRYiHIr-bQBZlHinO81Amoi_uuKuVRckgExPFNdNzkgKMV7k4cKpmIc3sOHhuaSOxroNhicd4HlpdiE1JkCVTulQIpvaB7tlLBFfwG_doQxPH-ghRuiQwSVa5iSTgmS0lFLd3EXrkGW5bcb-0ZZ1daAD7Hu3zyw=w528-h937-no?authuser=1">
            <a:extLst>
              <a:ext uri="{FF2B5EF4-FFF2-40B4-BE49-F238E27FC236}">
                <a16:creationId xmlns:a16="http://schemas.microsoft.com/office/drawing/2014/main" id="{E8199F45-2E4E-4FBC-B350-2F5D5F1A8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0081" y="3099855"/>
            <a:ext cx="981243" cy="17449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https://lh3.googleusercontent.com/rNe29Vm7ncJuGdDWo7m8UDizhpEjAgB-HvHCiw0fXxQBu86PmNqYNW235_6dbuH6pN6eHDiSfu3JTBllZuSbYwH9F-V9Bx_3StlZu8ADILAt1DyP57xbeEmxW09szFWvA9MQJspySTBSPUoLgxivBUpCOydWcl46qgIga9ZDHrV6Mg8TsjnbVRq-M2PnOJkZ38mMjTRzksLhtfCIYYO-5ghwUl8VmFef9tzUHZLlz1jVtzRZAeUXLEfSE-rLnEO5CO7LQ3CzD2X4wswRSlajWb8w4AMY_VXmy6EsuOSZoqjBNipjUTXzjhSqBw9y2GR1uBW6JSMzjIHvIo7O4j8JHGNhR-AUcYZbN_EqA_SLj5ud5vJaEHFBE5DKZLrQCD_VyooJxBB07kMb4KcWPQEL-x5VvFpDeHeezsDLDg4odftwtwHHE4Pqv2U8TvojPh37SVBOuT-G3fW-C7bKBHr5ctKkfQrni7CXOj4d4CUdafRcJih4rbt-y2oYlQe0g_HHH0snGipEaZEtgA3Tv18_v4lX3IpSZfoGdhX3-WYNVZEQXSZHnKH6Lb9r-hzm3cXmXdaU5pPloeCyu3GQ09-bdNQV-ScZJnmBfLPQ2wsHbYkwE0sfUXmBBJtvWAUwftG2VA2eh-idkiEcYjQzbhulxbgBmorEW9VxtAV3vlCeDn1oGuorm-fN8dw=w528-h937-no?authuser=1">
            <a:extLst>
              <a:ext uri="{FF2B5EF4-FFF2-40B4-BE49-F238E27FC236}">
                <a16:creationId xmlns:a16="http://schemas.microsoft.com/office/drawing/2014/main" id="{DCB78BAE-6CE2-4454-86DB-2C8C6DB893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901" y="3099855"/>
            <a:ext cx="981243" cy="17449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8E582A14-F39C-45B8-A6BE-3AB5112F23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7723" y="3098871"/>
            <a:ext cx="966455" cy="174687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308A277B-8922-4B12-879B-1F5C4AF32BE2}"/>
              </a:ext>
            </a:extLst>
          </p:cNvPr>
          <p:cNvSpPr/>
          <p:nvPr/>
        </p:nvSpPr>
        <p:spPr>
          <a:xfrm>
            <a:off x="4188452" y="4137609"/>
            <a:ext cx="250763" cy="2507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txBody>
          <a:bodyPr lIns="0" tIns="0" rIns="0" bIns="0" rtlCol="0" anchor="ctr">
            <a:normAutofit/>
          </a:bodyPr>
          <a:lstStyle/>
          <a:p>
            <a:pPr algn="ctr"/>
            <a:r>
              <a:rPr lang="pt-BR" sz="900" b="1" dirty="0">
                <a:latin typeface="+mj-lt"/>
              </a:rPr>
              <a:t>1</a:t>
            </a:r>
            <a:endParaRPr lang="en-US" sz="900" b="1" dirty="0">
              <a:latin typeface="+mj-lt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1A681C5D-8DA9-4A52-A46C-87E809A8667D}"/>
              </a:ext>
            </a:extLst>
          </p:cNvPr>
          <p:cNvSpPr/>
          <p:nvPr/>
        </p:nvSpPr>
        <p:spPr>
          <a:xfrm>
            <a:off x="5437363" y="4406406"/>
            <a:ext cx="250763" cy="2507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txBody>
          <a:bodyPr lIns="0" tIns="0" rIns="0" bIns="0" rtlCol="0" anchor="ctr">
            <a:normAutofit/>
          </a:bodyPr>
          <a:lstStyle/>
          <a:p>
            <a:pPr algn="ctr"/>
            <a:r>
              <a:rPr lang="pt-BR" sz="900" b="1" dirty="0">
                <a:latin typeface="+mj-lt"/>
              </a:rPr>
              <a:t>2</a:t>
            </a:r>
            <a:endParaRPr lang="en-US" sz="900" b="1" dirty="0">
              <a:latin typeface="+mj-lt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46EC61A5-7AC4-418A-8A5A-6CEEBC7F8824}"/>
              </a:ext>
            </a:extLst>
          </p:cNvPr>
          <p:cNvSpPr/>
          <p:nvPr/>
        </p:nvSpPr>
        <p:spPr>
          <a:xfrm>
            <a:off x="6495950" y="3833155"/>
            <a:ext cx="250763" cy="2507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txBody>
          <a:bodyPr lIns="0" tIns="0" rIns="0" bIns="0" rtlCol="0" anchor="ctr">
            <a:normAutofit/>
          </a:bodyPr>
          <a:lstStyle/>
          <a:p>
            <a:pPr algn="ctr"/>
            <a:r>
              <a:rPr lang="pt-BR" sz="900" b="1" dirty="0">
                <a:latin typeface="+mj-lt"/>
              </a:rPr>
              <a:t>3</a:t>
            </a:r>
            <a:endParaRPr lang="en-US" sz="900" b="1" dirty="0">
              <a:latin typeface="+mj-lt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BB88FA60-756C-4F7E-961B-0EAEC73160B1}"/>
              </a:ext>
            </a:extLst>
          </p:cNvPr>
          <p:cNvSpPr/>
          <p:nvPr/>
        </p:nvSpPr>
        <p:spPr>
          <a:xfrm>
            <a:off x="7552148" y="4423343"/>
            <a:ext cx="250763" cy="2507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txBody>
          <a:bodyPr lIns="0" tIns="0" rIns="0" bIns="0" rtlCol="0" anchor="ctr">
            <a:normAutofit/>
          </a:bodyPr>
          <a:lstStyle/>
          <a:p>
            <a:pPr algn="ctr"/>
            <a:r>
              <a:rPr lang="pt-BR" sz="900" b="1" dirty="0">
                <a:latin typeface="+mj-lt"/>
              </a:rPr>
              <a:t>4</a:t>
            </a:r>
            <a:endParaRPr lang="en-US" sz="900" b="1" dirty="0">
              <a:latin typeface="+mj-lt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94C6B66B-4CA2-471C-9DB8-623B7BEF2C49}"/>
              </a:ext>
            </a:extLst>
          </p:cNvPr>
          <p:cNvSpPr/>
          <p:nvPr/>
        </p:nvSpPr>
        <p:spPr>
          <a:xfrm>
            <a:off x="8425532" y="4503212"/>
            <a:ext cx="250763" cy="250763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txBody>
          <a:bodyPr lIns="0" tIns="0" rIns="0" bIns="0" rtlCol="0" anchor="ctr">
            <a:normAutofit/>
          </a:bodyPr>
          <a:lstStyle/>
          <a:p>
            <a:pPr algn="ctr"/>
            <a:r>
              <a:rPr lang="pt-BR" sz="900" b="1" dirty="0">
                <a:latin typeface="+mj-lt"/>
              </a:rPr>
              <a:t>5</a:t>
            </a:r>
            <a:endParaRPr lang="en-US" sz="900" b="1" dirty="0">
              <a:latin typeface="+mj-lt"/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C1FEA76A-B2EA-45A3-944C-6F159A014446}"/>
              </a:ext>
            </a:extLst>
          </p:cNvPr>
          <p:cNvGrpSpPr/>
          <p:nvPr/>
        </p:nvGrpSpPr>
        <p:grpSpPr>
          <a:xfrm>
            <a:off x="6822195" y="3124874"/>
            <a:ext cx="1993621" cy="1746879"/>
            <a:chOff x="217769" y="2247110"/>
            <a:chExt cx="1993621" cy="1746879"/>
          </a:xfrm>
        </p:grpSpPr>
        <p:pic>
          <p:nvPicPr>
            <p:cNvPr id="17" name="Picture 2" descr="https://lh3.googleusercontent.com/NNEAZUrN1PxNvyCkdps8BCqRwpX63TxNBnx5cs3fAOKea-dRrmG7yhglWu0w0vmsKxqzM354HyJN1zeTlN-m1ADIbxDz70f7k6FeUktdeIirzVgBnntrzKd3y6Ek60CgnN80u_d7b07loUh0StltCYBsBbcqMBMVcAwUp8MPCiT9TAizZFeJsr1PZbxoI2QhKlfufgOucdqxu6CSyp9mG6g-eYHcl45wnGhGLJfKvt_AWAGUchhdxRk3_6Jw1z_8AgUnXhuW8gulbRx83lZWxln-EkoCWbIr9j0oh8kqqEvvMiSxhh6yw10rHadQHwZh6tHHnbBchXwhXfkMXgjM7GxQ-lxUkWbsHxjYKQYXl5jTwi4gTWDMU-rAZvt87s1BL0GV3xRJGOTYAAMNhLxNsn34me6Gb3Xnv50auR_n__boutxBRiAINFwGNdT7ZpekzrC72TmCEBMznmNAH93Ia4FpV9yPkfB2KrSvNh_uPhrUTu9v6V_HDbc8DSLdJhnAI9tjl642yfeaqwFiQuqdnrGdR5UWAUlmgYQumKd9ErP5PhYqUYIPxlRSqdOCshJiztzclfg9hL2nUL7baX8W_GP8Rya7d8Ut6r7qWL1J_AI2U3qnw0PCRkvf_g4FMvoY6PndzxjVNwvuuzOjQgY-ZCyDjUXn1Z8AKOG_53RjT0mykIM6eX3-31w=w528-h937-no?authuser=1">
              <a:extLst>
                <a:ext uri="{FF2B5EF4-FFF2-40B4-BE49-F238E27FC236}">
                  <a16:creationId xmlns:a16="http://schemas.microsoft.com/office/drawing/2014/main" id="{243C97D7-6488-4C66-A381-9A7E93542E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769" y="2247110"/>
              <a:ext cx="981244" cy="1744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4E229D13-831D-499D-A86D-167E92CC64DB}"/>
                </a:ext>
              </a:extLst>
            </p:cNvPr>
            <p:cNvSpPr/>
            <p:nvPr/>
          </p:nvSpPr>
          <p:spPr>
            <a:xfrm>
              <a:off x="221584" y="3435846"/>
              <a:ext cx="250763" cy="25076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</p:spPr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1</a:t>
              </a:r>
              <a:endParaRPr lang="en-US" sz="900" b="1" dirty="0">
                <a:latin typeface="+mj-lt"/>
              </a:endParaRPr>
            </a:p>
          </p:txBody>
        </p:sp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E83CB7AA-ADC4-4D66-9C51-70B4487B4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44935" y="2247110"/>
              <a:ext cx="966455" cy="1746879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F09DB2DF-9B31-44CD-A50C-64AB40E249E4}"/>
                </a:ext>
              </a:extLst>
            </p:cNvPr>
            <p:cNvSpPr/>
            <p:nvPr/>
          </p:nvSpPr>
          <p:spPr>
            <a:xfrm>
              <a:off x="1244935" y="2747811"/>
              <a:ext cx="250763" cy="25076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</p:spPr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2</a:t>
              </a:r>
              <a:endParaRPr lang="en-US" sz="900" b="1" dirty="0">
                <a:latin typeface="+mj-lt"/>
              </a:endParaRPr>
            </a:p>
          </p:txBody>
        </p:sp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8DA9E57F-C5F4-4BF5-AC8D-FE3A6B3BE059}"/>
                </a:ext>
              </a:extLst>
            </p:cNvPr>
            <p:cNvSpPr/>
            <p:nvPr/>
          </p:nvSpPr>
          <p:spPr>
            <a:xfrm>
              <a:off x="1387933" y="3295187"/>
              <a:ext cx="250763" cy="25076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</p:spPr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3</a:t>
              </a:r>
              <a:endParaRPr lang="en-US" sz="900" b="1" dirty="0">
                <a:latin typeface="+mj-lt"/>
              </a:endParaRPr>
            </a:p>
          </p:txBody>
        </p:sp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77BEE7E0-EDA8-4CEB-8306-4B8B7649A271}"/>
                </a:ext>
              </a:extLst>
            </p:cNvPr>
            <p:cNvSpPr/>
            <p:nvPr/>
          </p:nvSpPr>
          <p:spPr>
            <a:xfrm>
              <a:off x="1383824" y="3545950"/>
              <a:ext cx="250763" cy="25076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</p:spPr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4</a:t>
              </a:r>
              <a:endParaRPr lang="en-US" sz="900" b="1" dirty="0">
                <a:latin typeface="+mj-lt"/>
              </a:endParaRPr>
            </a:p>
          </p:txBody>
        </p:sp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093FFE4D-F275-49D4-A727-638BAEA7CA05}"/>
                </a:ext>
              </a:extLst>
            </p:cNvPr>
            <p:cNvSpPr/>
            <p:nvPr/>
          </p:nvSpPr>
          <p:spPr>
            <a:xfrm>
              <a:off x="1862618" y="3739100"/>
              <a:ext cx="250763" cy="25076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FC000"/>
              </a:solidFill>
            </a:ln>
          </p:spPr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5</a:t>
              </a:r>
              <a:endParaRPr lang="en-US" sz="900" b="1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6694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-0.30712 0.0052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365" y="247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4" grpId="0" animBg="1"/>
      <p:bldP spid="4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09F4E0-2CE7-49E1-B624-7D0BBCD1B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iscussão</a:t>
            </a:r>
            <a:endParaRPr lang="en-US" dirty="0"/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A245C170-770C-4288-94F1-E030E22B1B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9F965-837E-4001-A6E0-3580E31183FC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99EC5AA0-EC22-4653-AE71-B96127B989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864096"/>
            <a:ext cx="3263030" cy="4083918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84036727-2C00-4871-8D2F-DEF71F2F7DA1}"/>
              </a:ext>
            </a:extLst>
          </p:cNvPr>
          <p:cNvSpPr/>
          <p:nvPr/>
        </p:nvSpPr>
        <p:spPr>
          <a:xfrm>
            <a:off x="3707904" y="798618"/>
            <a:ext cx="4572000" cy="133055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t-BR" sz="1100" dirty="0"/>
              <a:t>Que elementos poderiam ser adicionados ou eliminados para melhorar o design da interface?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t-BR" sz="1100" dirty="0"/>
              <a:t>Quais são as limitações da interação proposta?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t-BR" sz="1100" dirty="0"/>
              <a:t>Quais estilos de interação estão presentes nesta proposta?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endParaRPr lang="pt-BR" sz="1100" dirty="0"/>
          </a:p>
        </p:txBody>
      </p:sp>
      <p:pic>
        <p:nvPicPr>
          <p:cNvPr id="8" name="Picture 2" descr="https://lh3.googleusercontent.com/CJsufUnme1ECzHTJviT0rIaHsC-2cp44QVqGjMegRnKvd8fvD430dkr5aBH9YAd6auRmJzDg4l0r7Knv4R_LXJ4hxFX21SYsGFhdLaj40OXgCCpFkrkD8Lq9x3_raoDUZb-BFW8Yuk4oarRPjIUo5shSQsrsQKgRDmFxneLiZ7rLC9Kim8jwBrPeWCCBd8A9AodgK2xAZx_AT02D_4U0FLk92RLnwY_f_7ZvyhALpC8Di6eQs1VUbjIrBFguuo7kynHrzIwVIfMBmrevMBugEN3-b0XtDGRuvqke3NKEioaX4d5pt6ta2GLx4XCeIhH9obsAAlP527RYMbb0dOP4lZv74fy1RHcetFLql0AKizQhoLZXD2Q3REhTTn2lE4G1NisHfqCf4ANsB_6sEpgSnZZPyXsMiEZnbMfCXFDe8XOPEQ_a46tz5hdoi9pqhOkfLmBJeCFhMOP4iiDs5l9xxrDM9F41rmRMsfM59i2zn7TsMAHmold5K416m92rMMqT2ksTWLAqOMm_GDz_SYlNDprzdxAmdZhKat4R3ErBTTLx8d1xJC1gbv8Y5NM3M6TXkV1GejDwlvEiEnDxP_cYTODS1GsNPzYdLWywDETWkT-Jtens_6WC2tUbmTMkxcn77ifTSvcGsoBqossN8xZZ4HX9PhCBM_qsb-ANe2AnZ17Jb39gdIvKmFE=w528-h937-no?authuser=1">
            <a:extLst>
              <a:ext uri="{FF2B5EF4-FFF2-40B4-BE49-F238E27FC236}">
                <a16:creationId xmlns:a16="http://schemas.microsoft.com/office/drawing/2014/main" id="{DCEDD58C-A9FB-4A5D-A6B4-98B3AD908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222" y="2552579"/>
            <a:ext cx="1167595" cy="2076294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s://lh3.googleusercontent.com/3N_R1juqiC9cWSKtWopyyjzg6qVAajqwhyaRvoU9dL0tJWV2qLHxPDAfDjEFKrc4SjyXejoH4uaZ9K_UqBQ1bZfAjynFYiPeiM2ChHrHP-4uX8-PCsfmfGDK2i1AkQ6NNqZF49zkpz9pp4EZwtRJg4MhGJ1v7MVvEZl_e8z0y9bWHFwpy0ZWgTO9X3R5GJUmVkrgTnWaz0fbA1X6wBA8aP_EnGhNTN76d24wDjBt3dC__HUiWwyz7-Llc_VEfUFcHEieLpwnC1x5LFmt5ZWEOBs60CxmOKJP9aBQ6XBVJzwOlWLsaGRMv4zcKitBhzvAbqaNmytvD6wrPfj3OYOJjIOwVuZwiAXPFvIm2ln_GrxIz7DE35V_njJFA_aU_Q7l-8vXcViW_v3DNirhJQzMOuP-XixKbKp5s7erjtTvvQdoAMrYanbMk7dYdfYPvISNztk5BuTRiSwpupKK5LaKqXxckP2_7NpZ97W3wxGHm_IT5_tv-lrnLGk7jbav3dX6K9tIc0PCRWXcANOIPz1GCf1CxRYiHIr-bQBZlHinO81Amoi_uuKuVRckgExPFNdNzkgKMV7k4cKpmIc3sOHhuaSOxroNhicd4HlpdiE1JkCVTulQIpvaB7tlLBFfwG_doQxPH-ghRuiQwSVa5iSTgmS0lFLd3EXrkGW5bcb-0ZZ1daAD7Hu3zyw=w528-h937-no?authuser=1">
            <a:extLst>
              <a:ext uri="{FF2B5EF4-FFF2-40B4-BE49-F238E27FC236}">
                <a16:creationId xmlns:a16="http://schemas.microsoft.com/office/drawing/2014/main" id="{77F9D4A9-9DD8-4AEE-95B1-611EDA977B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9246" y="2552579"/>
            <a:ext cx="1167595" cy="2076294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https://lh3.googleusercontent.com/rNe29Vm7ncJuGdDWo7m8UDizhpEjAgB-HvHCiw0fXxQBu86PmNqYNW235_6dbuH6pN6eHDiSfu3JTBllZuSbYwH9F-V9Bx_3StlZu8ADILAt1DyP57xbeEmxW09szFWvA9MQJspySTBSPUoLgxivBUpCOydWcl46qgIga9ZDHrV6Mg8TsjnbVRq-M2PnOJkZ38mMjTRzksLhtfCIYYO-5ghwUl8VmFef9tzUHZLlz1jVtzRZAeUXLEfSE-rLnEO5CO7LQ3CzD2X4wswRSlajWb8w4AMY_VXmy6EsuOSZoqjBNipjUTXzjhSqBw9y2GR1uBW6JSMzjIHvIo7O4j8JHGNhR-AUcYZbN_EqA_SLj5ud5vJaEHFBE5DKZLrQCD_VyooJxBB07kMb4KcWPQEL-x5VvFpDeHeezsDLDg4odftwtwHHE4Pqv2U8TvojPh37SVBOuT-G3fW-C7bKBHr5ctKkfQrni7CXOj4d4CUdafRcJih4rbt-y2oYlQe0g_HHH0snGipEaZEtgA3Tv18_v4lX3IpSZfoGdhX3-WYNVZEQXSZHnKH6Lb9r-hzm3cXmXdaU5pPloeCyu3GQ09-bdNQV-ScZJnmBfLPQ2wsHbYkwE0sfUXmBBJtvWAUwftG2VA2eh-idkiEcYjQzbhulxbgBmorEW9VxtAV3vlCeDn1oGuorm-fN8dw=w528-h937-no?authuser=1">
            <a:extLst>
              <a:ext uri="{FF2B5EF4-FFF2-40B4-BE49-F238E27FC236}">
                <a16:creationId xmlns:a16="http://schemas.microsoft.com/office/drawing/2014/main" id="{EBB28D5C-D86A-40C1-B3A0-6B8CAD633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270" y="2552579"/>
            <a:ext cx="1167595" cy="2076294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5700F0D5-0486-4930-85F7-8B4D9FA77C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07294" y="2552303"/>
            <a:ext cx="1149998" cy="207863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F3C9B8B3-284B-477C-8E8E-7E4EA9B4D353}"/>
              </a:ext>
            </a:extLst>
          </p:cNvPr>
          <p:cNvSpPr/>
          <p:nvPr/>
        </p:nvSpPr>
        <p:spPr>
          <a:xfrm>
            <a:off x="3748619" y="4439472"/>
            <a:ext cx="1179198" cy="200055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l"/>
            <a:endParaRPr lang="en-US" sz="700" dirty="0">
              <a:latin typeface="+mj-lt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AFF7CC56-02B1-404E-92A5-463BFD5D485D}"/>
              </a:ext>
            </a:extLst>
          </p:cNvPr>
          <p:cNvSpPr/>
          <p:nvPr/>
        </p:nvSpPr>
        <p:spPr>
          <a:xfrm>
            <a:off x="3748619" y="2643612"/>
            <a:ext cx="1149998" cy="200055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l"/>
            <a:endParaRPr lang="en-US" sz="700" dirty="0">
              <a:latin typeface="+mj-lt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EC55300-3B0D-48DD-8FEA-D39CB37C9539}"/>
              </a:ext>
            </a:extLst>
          </p:cNvPr>
          <p:cNvSpPr/>
          <p:nvPr/>
        </p:nvSpPr>
        <p:spPr>
          <a:xfrm>
            <a:off x="7507295" y="3219822"/>
            <a:ext cx="1149998" cy="200055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l"/>
            <a:endParaRPr lang="en-US" sz="700" dirty="0">
              <a:latin typeface="+mj-lt"/>
            </a:endParaRP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34092C9C-4C28-4C7A-A7EB-CB5AEEF62ECE}"/>
              </a:ext>
            </a:extLst>
          </p:cNvPr>
          <p:cNvSpPr/>
          <p:nvPr/>
        </p:nvSpPr>
        <p:spPr>
          <a:xfrm>
            <a:off x="5002805" y="2806027"/>
            <a:ext cx="1149998" cy="1609911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rtlCol="0" anchor="ctr">
            <a:normAutofit/>
          </a:bodyPr>
          <a:lstStyle/>
          <a:p>
            <a:pPr algn="l"/>
            <a:endParaRPr lang="en-US" sz="700" dirty="0">
              <a:latin typeface="+mj-lt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37440446-644F-4B61-B72A-6480AF17F31D}"/>
              </a:ext>
            </a:extLst>
          </p:cNvPr>
          <p:cNvSpPr/>
          <p:nvPr/>
        </p:nvSpPr>
        <p:spPr>
          <a:xfrm>
            <a:off x="4246002" y="4434145"/>
            <a:ext cx="200996" cy="200055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algn="l"/>
            <a:endParaRPr lang="en-US" sz="7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0128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4" grpId="0" animBg="1"/>
      <p:bldP spid="12" grpId="0" animBg="1"/>
      <p:bldP spid="13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F458665-B7A4-432D-BD04-25EF4A58B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49" y="2338351"/>
            <a:ext cx="7848103" cy="466799"/>
          </a:xfrm>
        </p:spPr>
        <p:txBody>
          <a:bodyPr/>
          <a:lstStyle/>
          <a:p>
            <a:pPr algn="ctr"/>
            <a:r>
              <a:rPr lang="pt-BR" sz="4000" dirty="0">
                <a:latin typeface="Arial" panose="020B0604020202020204" pitchFamily="34" charset="0"/>
                <a:cs typeface="Arial" panose="020B0604020202020204" pitchFamily="34" charset="0"/>
              </a:rPr>
              <a:t>Obrigada!</a:t>
            </a:r>
            <a:endParaRPr lang="en-US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3206A377-C08A-4537-A01C-08C855D467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9F965-837E-4001-A6E0-3580E31183FC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5" name="Título 3">
            <a:extLst>
              <a:ext uri="{FF2B5EF4-FFF2-40B4-BE49-F238E27FC236}">
                <a16:creationId xmlns:a16="http://schemas.microsoft.com/office/drawing/2014/main" id="{C04CF21D-6C41-48E1-B71E-7635D8A34BC2}"/>
              </a:ext>
            </a:extLst>
          </p:cNvPr>
          <p:cNvSpPr txBox="1">
            <a:spLocks/>
          </p:cNvSpPr>
          <p:nvPr/>
        </p:nvSpPr>
        <p:spPr bwMode="auto">
          <a:xfrm>
            <a:off x="647949" y="3579862"/>
            <a:ext cx="7848103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1800">
                <a:solidFill>
                  <a:srgbClr val="80808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2pPr>
            <a:lvl3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3pPr>
            <a:lvl4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4pPr>
            <a:lvl5pPr algn="l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5pPr>
            <a:lvl6pPr marL="457200" algn="l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6pPr>
            <a:lvl7pPr marL="914400" algn="l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7pPr>
            <a:lvl8pPr marL="1371600" algn="l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8pPr>
            <a:lvl9pPr marL="1828800" algn="l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rgbClr val="808080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pt-BR" sz="1100" kern="0" dirty="0">
                <a:latin typeface="Arial" panose="020B0604020202020204" pitchFamily="34" charset="0"/>
                <a:cs typeface="Arial" panose="020B0604020202020204" pitchFamily="34" charset="0"/>
              </a:rPr>
              <a:t>Denise Rosa Meneghel</a:t>
            </a:r>
          </a:p>
          <a:p>
            <a:pPr algn="r">
              <a:lnSpc>
                <a:spcPct val="100000"/>
              </a:lnSpc>
            </a:pPr>
            <a:r>
              <a:rPr lang="pt-BR" sz="1100" kern="0" dirty="0">
                <a:latin typeface="Arial" panose="020B0604020202020204" pitchFamily="34" charset="0"/>
                <a:cs typeface="Arial" panose="020B0604020202020204" pitchFamily="34" charset="0"/>
              </a:rPr>
              <a:t>Interação Humano Computador </a:t>
            </a:r>
          </a:p>
          <a:p>
            <a:pPr algn="r">
              <a:lnSpc>
                <a:spcPct val="100000"/>
              </a:lnSpc>
            </a:pPr>
            <a:r>
              <a:rPr lang="pt-BR" sz="1100" kern="0" dirty="0">
                <a:latin typeface="Arial" panose="020B0604020202020204" pitchFamily="34" charset="0"/>
                <a:cs typeface="Arial" panose="020B0604020202020204" pitchFamily="34" charset="0"/>
              </a:rPr>
              <a:t>Pós Graduação em Computação Aplicada</a:t>
            </a:r>
          </a:p>
          <a:p>
            <a:pPr algn="r">
              <a:lnSpc>
                <a:spcPct val="100000"/>
              </a:lnSpc>
            </a:pPr>
            <a:r>
              <a:rPr lang="pt-BR" sz="1100" kern="0" dirty="0">
                <a:latin typeface="Arial" panose="020B0604020202020204" pitchFamily="34" charset="0"/>
                <a:cs typeface="Arial" panose="020B0604020202020204" pitchFamily="34" charset="0"/>
              </a:rPr>
              <a:t>Universidade do Estado de Santa Catarina</a:t>
            </a:r>
          </a:p>
          <a:p>
            <a:pPr algn="r">
              <a:lnSpc>
                <a:spcPct val="100000"/>
              </a:lnSpc>
            </a:pPr>
            <a:r>
              <a:rPr lang="pt-BR" sz="1100" kern="0" dirty="0">
                <a:latin typeface="Arial" panose="020B0604020202020204" pitchFamily="34" charset="0"/>
                <a:cs typeface="Arial" panose="020B0604020202020204" pitchFamily="34" charset="0"/>
              </a:rPr>
              <a:t>Junho de 2020</a:t>
            </a:r>
            <a:br>
              <a:rPr lang="pt-BR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BR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61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94601902544295946029E+00&quot;&gt;&lt;m_msothmcolidx val=&quot;0&quot;/&gt;&lt;m_rgb r=&quot;00&quot; g=&quot;99&quot; b=&quot;00&quot;/&gt;&lt;m_nBrightness val=&quot;0&quot;/&gt;&lt;/elem&gt;&lt;elem m_fUsage=&quot;3.22658892910000050236E+00&quot;&gt;&lt;m_msothmcolidx val=&quot;0&quot;/&gt;&lt;m_rgb r=&quot;7F&quot; g=&quot;7F&quot; b=&quot;7F&quot;/&gt;&lt;m_nBrightness val=&quot;0&quot;/&gt;&lt;/elem&gt;&lt;elem m_fUsage=&quot;1.08656721000000033861E+00&quot;&gt;&lt;m_msothmcolidx val=&quot;0&quot;/&gt;&lt;m_rgb r=&quot;EE&quot; g=&quot;AD&quot; b=&quot;0E&quot;/&gt;&lt;m_nBrightness val=&quot;0&quot;/&gt;&lt;/elem&gt;&lt;elem m_fUsage=&quot;6.88845639477159155106E-01&quot;&gt;&lt;m_msothmcolidx val=&quot;0&quot;/&gt;&lt;m_rgb r=&quot;1E&quot; g=&quot;82&quot; b=&quot;BA&quot;/&gt;&lt;m_nBrightness val=&quot;0&quot;/&gt;&lt;/elem&gt;&lt;elem m_fUsage=&quot;4.30871690958259612181E-01&quot;&gt;&lt;m_msothmcolidx val=&quot;0&quot;/&gt;&lt;m_rgb r=&quot;00&quot; g=&quot;70&quot; b=&quot;C0&quot;/&gt;&lt;m_nBrightness val=&quot;0&quot;/&gt;&lt;/elem&gt;&lt;elem m_fUsage=&quot;1.50094635296999207030E-01&quot;&gt;&lt;m_msothmcolidx val=&quot;0&quot;/&gt;&lt;m_rgb r=&quot;FA&quot; g=&quot;5A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G_ppt_templates_18.04.2008_SL">
  <a:themeElements>
    <a:clrScheme name="WEG_ppt_templates_18.04.2008_S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A4D8E3"/>
      </a:accent1>
      <a:accent2>
        <a:srgbClr val="28B9DA"/>
      </a:accent2>
      <a:accent3>
        <a:srgbClr val="FFFFFF"/>
      </a:accent3>
      <a:accent4>
        <a:srgbClr val="000000"/>
      </a:accent4>
      <a:accent5>
        <a:srgbClr val="CFE9EF"/>
      </a:accent5>
      <a:accent6>
        <a:srgbClr val="23A7C5"/>
      </a:accent6>
      <a:hlink>
        <a:srgbClr val="2382BA"/>
      </a:hlink>
      <a:folHlink>
        <a:srgbClr val="96CBE2"/>
      </a:folHlink>
    </a:clrScheme>
    <a:fontScheme name="WEG_ppt_templates_18.04.2008_S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 algn="l">
          <a:defRPr sz="1000" dirty="0"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45720" rIns="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72000" tIns="72000" rIns="72000" bIns="72000" rtlCol="0" anchor="t">
        <a:noAutofit/>
      </a:bodyPr>
      <a:lstStyle>
        <a:defPPr>
          <a:spcAft>
            <a:spcPts val="0"/>
          </a:spcAft>
          <a:defRPr sz="1000" b="1" dirty="0" err="1" smtClean="0">
            <a:latin typeface="+mn-lt"/>
          </a:defRPr>
        </a:defPPr>
      </a:lstStyle>
    </a:txDef>
  </a:objectDefaults>
  <a:extraClrSchemeLst>
    <a:extraClrScheme>
      <a:clrScheme name="WEG_ppt_templates_18.04.2008_S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A4D8E3"/>
        </a:accent1>
        <a:accent2>
          <a:srgbClr val="28B9DA"/>
        </a:accent2>
        <a:accent3>
          <a:srgbClr val="FFFFFF"/>
        </a:accent3>
        <a:accent4>
          <a:srgbClr val="000000"/>
        </a:accent4>
        <a:accent5>
          <a:srgbClr val="CFE9EF"/>
        </a:accent5>
        <a:accent6>
          <a:srgbClr val="23A7C5"/>
        </a:accent6>
        <a:hlink>
          <a:srgbClr val="2382BA"/>
        </a:hlink>
        <a:folHlink>
          <a:srgbClr val="96CB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FEAEFC8063D0646AAA129F3F9466BB6" ma:contentTypeVersion="12" ma:contentTypeDescription="Crie um novo documento." ma:contentTypeScope="" ma:versionID="efdaf0518124933a2f45143a8d4757c0">
  <xsd:schema xmlns:xsd="http://www.w3.org/2001/XMLSchema" xmlns:xs="http://www.w3.org/2001/XMLSchema" xmlns:p="http://schemas.microsoft.com/office/2006/metadata/properties" xmlns:ns3="b089117e-ff11-469e-81f9-5bb3c6d38f0c" xmlns:ns4="cd227242-da37-4443-8289-5b399635865a" targetNamespace="http://schemas.microsoft.com/office/2006/metadata/properties" ma:root="true" ma:fieldsID="8a8da531415b13e5e69c9a1ba9c75043" ns3:_="" ns4:_="">
    <xsd:import namespace="b089117e-ff11-469e-81f9-5bb3c6d38f0c"/>
    <xsd:import namespace="cd227242-da37-4443-8289-5b399635865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89117e-ff11-469e-81f9-5bb3c6d38f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227242-da37-4443-8289-5b399635865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de Dica de Compartilhamento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9E03AE3-645A-4487-9946-D6989581D4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89117e-ff11-469e-81f9-5bb3c6d38f0c"/>
    <ds:schemaRef ds:uri="cd227242-da37-4443-8289-5b39963586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B83B0F-A776-4C37-8860-35CFCE88A637}">
  <ds:schemaRefs>
    <ds:schemaRef ds:uri="http://purl.org/dc/dcmitype/"/>
    <ds:schemaRef ds:uri="b089117e-ff11-469e-81f9-5bb3c6d38f0c"/>
    <ds:schemaRef ds:uri="http://purl.org/dc/terms/"/>
    <ds:schemaRef ds:uri="http://schemas.openxmlformats.org/package/2006/metadata/core-properties"/>
    <ds:schemaRef ds:uri="http://www.w3.org/XML/1998/namespace"/>
    <ds:schemaRef ds:uri="cd227242-da37-4443-8289-5b399635865a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83C85C0-B1B5-4BD7-8E3E-5634C53CF6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981</TotalTime>
  <Words>277</Words>
  <Application>Microsoft Office PowerPoint</Application>
  <PresentationFormat>Apresentação na tela (16:9)</PresentationFormat>
  <Paragraphs>44</Paragraphs>
  <Slides>5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5" baseType="lpstr">
      <vt:lpstr>Arial</vt:lpstr>
      <vt:lpstr>Arial Black</vt:lpstr>
      <vt:lpstr>Calibri</vt:lpstr>
      <vt:lpstr>Calibri Light</vt:lpstr>
      <vt:lpstr>Wingdings</vt:lpstr>
      <vt:lpstr>WEG_ppt_templates_18.04.2008_SL</vt:lpstr>
      <vt:lpstr>Personalizar design</vt:lpstr>
      <vt:lpstr>1_Personalizar design</vt:lpstr>
      <vt:lpstr>2_Personalizar design</vt:lpstr>
      <vt:lpstr>Slide do think-cell</vt:lpstr>
      <vt:lpstr>Discussão</vt:lpstr>
      <vt:lpstr>Discussão</vt:lpstr>
      <vt:lpstr>Discussão</vt:lpstr>
      <vt:lpstr>Discussão</vt:lpstr>
      <vt:lpstr>Obrigada!</vt:lpstr>
    </vt:vector>
  </TitlesOfParts>
  <Company>Weg Equipamentos Eletricos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gineering and Sales System (EASY) Program Overview</dc:title>
  <dc:subject>Apresentação Executiva</dc:subject>
  <dc:creator>Fabio Arakava</dc:creator>
  <dc:description>Apresentação executiva sobre o projeto Safeguarding. Informação sobre o andamento do trabalho.</dc:description>
  <cp:lastModifiedBy>Denise Rosa Meneghel</cp:lastModifiedBy>
  <cp:revision>2760</cp:revision>
  <cp:lastPrinted>2016-09-01T16:24:58Z</cp:lastPrinted>
  <dcterms:created xsi:type="dcterms:W3CDTF">2008-04-29T18:50:59Z</dcterms:created>
  <dcterms:modified xsi:type="dcterms:W3CDTF">2020-06-02T18:3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EAEFC8063D0646AAA129F3F9466BB6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TemplateUrl">
    <vt:lpwstr/>
  </property>
</Properties>
</file>